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1" r:id="rId5"/>
    <p:sldMasterId id="2147483702" r:id="rId6"/>
    <p:sldMasterId id="2147483735" r:id="rId7"/>
    <p:sldMasterId id="2147483756" r:id="rId8"/>
  </p:sldMasterIdLst>
  <p:notesMasterIdLst>
    <p:notesMasterId r:id="rId41"/>
  </p:notesMasterIdLst>
  <p:sldIdLst>
    <p:sldId id="506" r:id="rId9"/>
    <p:sldId id="1944" r:id="rId10"/>
    <p:sldId id="1941" r:id="rId11"/>
    <p:sldId id="268" r:id="rId12"/>
    <p:sldId id="1878" r:id="rId13"/>
    <p:sldId id="1939" r:id="rId14"/>
    <p:sldId id="1940" r:id="rId15"/>
    <p:sldId id="1877" r:id="rId16"/>
    <p:sldId id="1943" r:id="rId17"/>
    <p:sldId id="1960" r:id="rId18"/>
    <p:sldId id="1961" r:id="rId19"/>
    <p:sldId id="1963" r:id="rId20"/>
    <p:sldId id="1964" r:id="rId21"/>
    <p:sldId id="1965" r:id="rId22"/>
    <p:sldId id="1953" r:id="rId23"/>
    <p:sldId id="473" r:id="rId24"/>
    <p:sldId id="1952" r:id="rId25"/>
    <p:sldId id="1946" r:id="rId26"/>
    <p:sldId id="1947" r:id="rId27"/>
    <p:sldId id="1948" r:id="rId28"/>
    <p:sldId id="1950" r:id="rId29"/>
    <p:sldId id="1603" r:id="rId30"/>
    <p:sldId id="272" r:id="rId31"/>
    <p:sldId id="1967" r:id="rId32"/>
    <p:sldId id="1973" r:id="rId33"/>
    <p:sldId id="1968" r:id="rId34"/>
    <p:sldId id="1969" r:id="rId35"/>
    <p:sldId id="1970" r:id="rId36"/>
    <p:sldId id="1971" r:id="rId37"/>
    <p:sldId id="1972" r:id="rId38"/>
    <p:sldId id="1966" r:id="rId39"/>
    <p:sldId id="1974"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E68"/>
    <a:srgbClr val="505050"/>
    <a:srgbClr val="CFD5EA"/>
    <a:srgbClr val="E9EBF5"/>
    <a:srgbClr val="30D666"/>
    <a:srgbClr val="FFFFFF"/>
    <a:srgbClr val="308ACA"/>
    <a:srgbClr val="595959"/>
    <a:srgbClr val="000000"/>
    <a:srgbClr val="D2A4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62D6F4-A056-4A3D-A524-ACEF20E30C54}" v="2025" dt="2019-11-15T21:16:26.855"/>
    <p1510:client id="{D1E097A2-6329-4BAB-A47A-3D62E7E5A703}" v="1" dt="2019-01-24T15:08:25.1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29" autoAdjust="0"/>
    <p:restoredTop sz="90012"/>
  </p:normalViewPr>
  <p:slideViewPr>
    <p:cSldViewPr snapToGrid="0">
      <p:cViewPr varScale="1">
        <p:scale>
          <a:sx n="81" d="100"/>
          <a:sy n="81" d="100"/>
        </p:scale>
        <p:origin x="219"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Contract</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2FB6C851-BFD2-3B40-A74C-E0990FBE416A}">
      <dgm:prSet phldrT="[Text]"/>
      <dgm:spPr/>
      <dgm:t>
        <a:bodyPr/>
        <a:lstStyle/>
        <a:p>
          <a:r>
            <a:rPr lang="en-US" dirty="0"/>
            <a:t>State Variables</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200" dirty="0"/>
            <a:t>State variables store values of the state for each contract instance</a:t>
          </a:r>
          <a:br>
            <a:rPr lang="en-US" sz="1200" dirty="0"/>
          </a:br>
          <a:endParaRPr lang="en-US" sz="12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EAA399BC-9721-B743-908A-4746BA10215A}">
      <dgm:prSet phldrT="[Text]"/>
      <dgm:spPr/>
      <dgm:t>
        <a:bodyPr/>
        <a:lstStyle/>
        <a:p>
          <a:r>
            <a:rPr lang="en-US" dirty="0"/>
            <a:t>Constructor</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200" dirty="0"/>
            <a:t>The constructor defines input parameters for a new smart contract instance of a workflow</a:t>
          </a:r>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4AC71D21-1492-3348-B7A6-5C2BCBD902D5}">
      <dgm:prSet phldrT="[Text]"/>
      <dgm:spPr/>
      <dgm:t>
        <a:bodyPr/>
        <a:lstStyle/>
        <a:p>
          <a:r>
            <a:rPr lang="en-US" dirty="0"/>
            <a:t>Function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3449CA0B-085B-7749-B88D-B2F1CBAE4B99}">
      <dgm:prSet phldrT="[Text]" custT="1"/>
      <dgm:spPr/>
      <dgm:t>
        <a:bodyPr/>
        <a:lstStyle/>
        <a:p>
          <a:r>
            <a:rPr lang="en-US" sz="1200" b="0" i="0" u="none" dirty="0"/>
            <a:t>Functions are the executable units of business logic within a contract</a:t>
          </a:r>
          <a:br>
            <a:rPr lang="en-US" sz="1200" b="0" i="0" u="none" dirty="0"/>
          </a:br>
          <a:r>
            <a:rPr lang="en-US" sz="1200" b="0" i="0" u="none" dirty="0"/>
            <a:t> </a:t>
          </a:r>
          <a:endParaRPr lang="en-US" sz="12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00915C91-2BAC-CB44-9FA5-FC2883C261E5}">
      <dgm:prSet custT="1"/>
      <dgm:spPr/>
      <dgm:t>
        <a:bodyPr/>
        <a:lstStyle/>
        <a:p>
          <a:r>
            <a:rPr lang="en-US" sz="1200" dirty="0"/>
            <a:t>Pass the application name and the workflow name as arguments</a:t>
          </a:r>
        </a:p>
      </dgm:t>
    </dgm:pt>
    <dgm:pt modelId="{3659585A-5D96-424C-8A2E-8A3687C2367C}" type="parTrans" cxnId="{B000F4D1-9727-D546-B993-80AA1812FC0B}">
      <dgm:prSet/>
      <dgm:spPr/>
      <dgm:t>
        <a:bodyPr/>
        <a:lstStyle/>
        <a:p>
          <a:endParaRPr lang="en-US"/>
        </a:p>
      </dgm:t>
    </dgm:pt>
    <dgm:pt modelId="{2270BCC6-9E2B-4C4C-BCD4-A223C629D2A8}" type="sibTrans" cxnId="{B000F4D1-9727-D546-B993-80AA1812FC0B}">
      <dgm:prSet/>
      <dgm:spPr/>
      <dgm:t>
        <a:bodyPr/>
        <a:lstStyle/>
        <a:p>
          <a:endParaRPr lang="en-US"/>
        </a:p>
      </dgm:t>
    </dgm:pt>
    <dgm:pt modelId="{EE74E1FD-36DB-DD46-BF13-76B65F0AC30D}">
      <dgm:prSet custT="1"/>
      <dgm:spPr/>
      <dgm:t>
        <a:bodyPr/>
        <a:lstStyle/>
        <a:p>
          <a:endParaRPr lang="en-US" sz="1200" dirty="0"/>
        </a:p>
      </dgm:t>
    </dgm:pt>
    <dgm:pt modelId="{281854AB-1940-9640-91D9-010541892070}" type="parTrans" cxnId="{79767784-D30B-D644-AC3B-EA55D508888D}">
      <dgm:prSet/>
      <dgm:spPr/>
      <dgm:t>
        <a:bodyPr/>
        <a:lstStyle/>
        <a:p>
          <a:endParaRPr lang="en-US"/>
        </a:p>
      </dgm:t>
    </dgm:pt>
    <dgm:pt modelId="{F5279980-9FF2-C045-884E-BE776457C196}" type="sibTrans" cxnId="{79767784-D30B-D644-AC3B-EA55D508888D}">
      <dgm:prSet/>
      <dgm:spPr/>
      <dgm:t>
        <a:bodyPr/>
        <a:lstStyle/>
        <a:p>
          <a:endParaRPr lang="en-US"/>
        </a:p>
      </dgm:t>
    </dgm:pt>
    <dgm:pt modelId="{6117F474-1AD4-E141-93EE-43518BA761D0}">
      <dgm:prSet custT="1"/>
      <dgm:spPr/>
      <dgm:t>
        <a:bodyPr/>
        <a:lstStyle/>
        <a:p>
          <a:r>
            <a:rPr lang="en-US" sz="1200" dirty="0"/>
            <a:t>1:1 relationship between contracts and config files </a:t>
          </a:r>
        </a:p>
      </dgm:t>
    </dgm:pt>
    <dgm:pt modelId="{154DB7A4-8083-F649-91AF-57B30B11431B}" type="parTrans" cxnId="{7FD947A6-3EB1-AC4C-A596-D83DB505DDC2}">
      <dgm:prSet/>
      <dgm:spPr/>
      <dgm:t>
        <a:bodyPr/>
        <a:lstStyle/>
        <a:p>
          <a:endParaRPr lang="en-US"/>
        </a:p>
      </dgm:t>
    </dgm:pt>
    <dgm:pt modelId="{53EB06E2-B7B4-B24B-8369-1DCCB801E6BD}" type="sibTrans" cxnId="{7FD947A6-3EB1-AC4C-A596-D83DB505DDC2}">
      <dgm:prSet/>
      <dgm:spPr/>
      <dgm:t>
        <a:bodyPr/>
        <a:lstStyle/>
        <a:p>
          <a:endParaRPr lang="en-US"/>
        </a:p>
      </dgm:t>
    </dgm:pt>
    <dgm:pt modelId="{E307C5A6-904E-1343-979E-725A9F8FF469}">
      <dgm:prSet custT="1"/>
      <dgm:spPr/>
      <dgm:t>
        <a:bodyPr/>
        <a:lstStyle/>
        <a:p>
          <a:endParaRPr lang="en-US" sz="1200" dirty="0"/>
        </a:p>
      </dgm:t>
    </dgm:pt>
    <dgm:pt modelId="{E69A362D-31C4-5643-9D0E-649F4C0B00CF}" type="parTrans" cxnId="{BF1AB288-267C-5A47-9DEF-EC0E1448C889}">
      <dgm:prSet/>
      <dgm:spPr/>
      <dgm:t>
        <a:bodyPr/>
        <a:lstStyle/>
        <a:p>
          <a:endParaRPr lang="en-US"/>
        </a:p>
      </dgm:t>
    </dgm:pt>
    <dgm:pt modelId="{44B053BC-D2FA-7741-B6F2-E2D2781B7CC5}" type="sibTrans" cxnId="{BF1AB288-267C-5A47-9DEF-EC0E1448C889}">
      <dgm:prSet/>
      <dgm:spPr/>
      <dgm:t>
        <a:bodyPr/>
        <a:lstStyle/>
        <a:p>
          <a:endParaRPr lang="en-US"/>
        </a:p>
      </dgm:t>
    </dgm:pt>
    <dgm:pt modelId="{0B5810C7-3373-0940-9DA0-77F9BAD20039}">
      <dgm:prSet custT="1"/>
      <dgm:spPr/>
      <dgm:t>
        <a:bodyPr/>
        <a:lstStyle/>
        <a:p>
          <a:r>
            <a:rPr lang="en-US" sz="1200" dirty="0"/>
            <a:t>Name matching required</a:t>
          </a:r>
        </a:p>
      </dgm:t>
    </dgm:pt>
    <dgm:pt modelId="{1074E96E-3C25-BF41-BE46-317BB44DD0E1}" type="parTrans" cxnId="{FD0B1200-53D5-5D44-863A-887D476A292F}">
      <dgm:prSet/>
      <dgm:spPr/>
      <dgm:t>
        <a:bodyPr/>
        <a:lstStyle/>
        <a:p>
          <a:endParaRPr lang="en-US"/>
        </a:p>
      </dgm:t>
    </dgm:pt>
    <dgm:pt modelId="{E977F061-804B-5244-A884-6E2795799812}" type="sibTrans" cxnId="{FD0B1200-53D5-5D44-863A-887D476A292F}">
      <dgm:prSet/>
      <dgm:spPr/>
      <dgm:t>
        <a:bodyPr/>
        <a:lstStyle/>
        <a:p>
          <a:endParaRPr lang="en-US"/>
        </a:p>
      </dgm:t>
    </dgm:pt>
    <dgm:pt modelId="{CECDF376-691C-C44B-B0DD-0F70BA2E24CB}">
      <dgm:prSet custT="1"/>
      <dgm:spPr/>
      <dgm:t>
        <a:bodyPr/>
        <a:lstStyle/>
        <a:p>
          <a:endParaRPr lang="en-US" sz="1400" dirty="0"/>
        </a:p>
      </dgm:t>
    </dgm:pt>
    <dgm:pt modelId="{CE7163BD-01C1-9A4E-B5E0-B56A9F744374}" type="parTrans" cxnId="{91A6E0E6-C0B4-5744-BE8E-5F1810902007}">
      <dgm:prSet/>
      <dgm:spPr/>
      <dgm:t>
        <a:bodyPr/>
        <a:lstStyle/>
        <a:p>
          <a:endParaRPr lang="en-US"/>
        </a:p>
      </dgm:t>
    </dgm:pt>
    <dgm:pt modelId="{8E30113C-80AA-8645-A0A3-DB636CFE456E}" type="sibTrans" cxnId="{91A6E0E6-C0B4-5744-BE8E-5F1810902007}">
      <dgm:prSet/>
      <dgm:spPr/>
      <dgm:t>
        <a:bodyPr/>
        <a:lstStyle/>
        <a:p>
          <a:endParaRPr lang="en-US"/>
        </a:p>
      </dgm:t>
    </dgm:pt>
    <dgm:pt modelId="{B91B23CD-F7DF-CF4C-AA96-C5AE11072FEB}">
      <dgm:prSet custT="1"/>
      <dgm:spPr/>
      <dgm:t>
        <a:bodyPr/>
        <a:lstStyle/>
        <a:p>
          <a:endParaRPr lang="en-US" sz="1400" dirty="0"/>
        </a:p>
      </dgm:t>
    </dgm:pt>
    <dgm:pt modelId="{47E11246-F866-CA4C-81FD-1C2892219D62}" type="parTrans" cxnId="{0D77FE37-D743-DC44-B5FE-CAF38B913D00}">
      <dgm:prSet/>
      <dgm:spPr/>
      <dgm:t>
        <a:bodyPr/>
        <a:lstStyle/>
        <a:p>
          <a:endParaRPr lang="en-US"/>
        </a:p>
      </dgm:t>
    </dgm:pt>
    <dgm:pt modelId="{E794840E-11F5-7446-B800-5B716BED825D}" type="sibTrans" cxnId="{0D77FE37-D743-DC44-B5FE-CAF38B913D00}">
      <dgm:prSet/>
      <dgm:spPr/>
      <dgm:t>
        <a:bodyPr/>
        <a:lstStyle/>
        <a:p>
          <a:endParaRPr lang="en-US"/>
        </a:p>
      </dgm:t>
    </dgm:pt>
    <dgm:pt modelId="{EC49F6C6-D997-084C-8612-2D46DD5A7176}">
      <dgm:prSet phldrT="[Text]" custT="1"/>
      <dgm:spPr/>
      <dgm:t>
        <a:bodyPr/>
        <a:lstStyle/>
        <a:p>
          <a:r>
            <a:rPr lang="en-US" sz="1200" dirty="0"/>
            <a:t>The state variables in your contract must match the workflow properties defined in the configuration file</a:t>
          </a:r>
        </a:p>
      </dgm:t>
    </dgm:pt>
    <dgm:pt modelId="{C75998B6-BE82-E547-ACB4-638FA3460B92}" type="parTrans" cxnId="{41850427-EEDF-5045-A5A3-CC02A5213458}">
      <dgm:prSet/>
      <dgm:spPr/>
      <dgm:t>
        <a:bodyPr/>
        <a:lstStyle/>
        <a:p>
          <a:endParaRPr lang="en-US"/>
        </a:p>
      </dgm:t>
    </dgm:pt>
    <dgm:pt modelId="{04738DDB-438E-1046-A266-A7B39AB944D1}" type="sibTrans" cxnId="{41850427-EEDF-5045-A5A3-CC02A5213458}">
      <dgm:prSet/>
      <dgm:spPr/>
      <dgm:t>
        <a:bodyPr/>
        <a:lstStyle/>
        <a:p>
          <a:endParaRPr lang="en-US"/>
        </a:p>
      </dgm:t>
    </dgm:pt>
    <dgm:pt modelId="{E60FA42F-2092-AC4D-B4C3-16BD20080929}">
      <dgm:prSet phldrT="[Text]" custT="1"/>
      <dgm:spPr/>
      <dgm:t>
        <a:bodyPr/>
        <a:lstStyle/>
        <a:p>
          <a:r>
            <a:rPr lang="en-US" sz="1200" dirty="0"/>
            <a:t>The constructor is declared as a function with the same name as the contract</a:t>
          </a:r>
        </a:p>
      </dgm:t>
    </dgm:pt>
    <dgm:pt modelId="{1150579C-4A8E-F44A-88B2-202B8B0F39B7}" type="parTrans" cxnId="{2CD8ACE9-31C3-BD47-9AC6-6CBEBC9A60F5}">
      <dgm:prSet/>
      <dgm:spPr/>
      <dgm:t>
        <a:bodyPr/>
        <a:lstStyle/>
        <a:p>
          <a:endParaRPr lang="en-US"/>
        </a:p>
      </dgm:t>
    </dgm:pt>
    <dgm:pt modelId="{D9D76843-11A8-994C-B312-F6DE1F70CC86}" type="sibTrans" cxnId="{2CD8ACE9-31C3-BD47-9AC6-6CBEBC9A60F5}">
      <dgm:prSet/>
      <dgm:spPr/>
      <dgm:t>
        <a:bodyPr/>
        <a:lstStyle/>
        <a:p>
          <a:endParaRPr lang="en-US"/>
        </a:p>
      </dgm:t>
    </dgm:pt>
    <dgm:pt modelId="{96D68090-243F-3A41-A3C1-758EE278E71A}">
      <dgm:prSet phldrT="[Text]" custT="1"/>
      <dgm:spPr/>
      <dgm:t>
        <a:bodyPr/>
        <a:lstStyle/>
        <a:p>
          <a:r>
            <a:rPr lang="en-US" sz="1200" dirty="0"/>
            <a:t>Required parameters for the constructor are defined as constructor parameters in the configuration file </a:t>
          </a:r>
        </a:p>
      </dgm:t>
    </dgm:pt>
    <dgm:pt modelId="{341B4FDE-85BA-E54D-8A5C-5ABCAFC85046}" type="parTrans" cxnId="{40E76544-6820-4443-B91A-689EEAB9E5D0}">
      <dgm:prSet/>
      <dgm:spPr/>
      <dgm:t>
        <a:bodyPr/>
        <a:lstStyle/>
        <a:p>
          <a:endParaRPr lang="en-US"/>
        </a:p>
      </dgm:t>
    </dgm:pt>
    <dgm:pt modelId="{595B3F28-7CF7-094A-B06B-18FAD0834E66}" type="sibTrans" cxnId="{40E76544-6820-4443-B91A-689EEAB9E5D0}">
      <dgm:prSet/>
      <dgm:spPr/>
      <dgm:t>
        <a:bodyPr/>
        <a:lstStyle/>
        <a:p>
          <a:endParaRPr lang="en-US"/>
        </a:p>
      </dgm:t>
    </dgm:pt>
    <dgm:pt modelId="{AA7AC6F9-EA5C-C24F-9AA7-367614229CE5}">
      <dgm:prSet phldrT="[Text]" custT="1"/>
      <dgm:spPr/>
      <dgm:t>
        <a:bodyPr/>
        <a:lstStyle/>
        <a:p>
          <a:r>
            <a:rPr lang="en-US" sz="1200" dirty="0"/>
            <a:t>The number, order, and type of parameters must match in both files.</a:t>
          </a:r>
        </a:p>
      </dgm:t>
    </dgm:pt>
    <dgm:pt modelId="{503DE381-F5D2-B54F-AB4A-42323F6A79F3}" type="parTrans" cxnId="{30B2A289-85C8-5C44-B639-DEB87A3D4C3E}">
      <dgm:prSet/>
      <dgm:spPr/>
      <dgm:t>
        <a:bodyPr/>
        <a:lstStyle/>
        <a:p>
          <a:endParaRPr lang="en-US"/>
        </a:p>
      </dgm:t>
    </dgm:pt>
    <dgm:pt modelId="{208FA664-611E-7E43-9E53-988972A2FAAB}" type="sibTrans" cxnId="{30B2A289-85C8-5C44-B639-DEB87A3D4C3E}">
      <dgm:prSet/>
      <dgm:spPr/>
      <dgm:t>
        <a:bodyPr/>
        <a:lstStyle/>
        <a:p>
          <a:endParaRPr lang="en-US"/>
        </a:p>
      </dgm:t>
    </dgm:pt>
    <dgm:pt modelId="{75170E8D-BC1B-D740-BEB0-FD19E339036A}">
      <dgm:prSet phldrT="[Text]" custT="1"/>
      <dgm:spPr/>
      <dgm:t>
        <a:bodyPr/>
        <a:lstStyle/>
        <a:p>
          <a:r>
            <a:rPr lang="en-US" sz="1200" b="0" i="0" u="none" dirty="0"/>
            <a:t>Required parameters for the function are defined as function parameters in the configuration file</a:t>
          </a:r>
          <a:br>
            <a:rPr lang="en-US" sz="1200" b="0" i="0" u="none" dirty="0"/>
          </a:br>
          <a:r>
            <a:rPr lang="en-US" sz="1200" b="0" i="0" u="none" dirty="0"/>
            <a:t> </a:t>
          </a:r>
          <a:endParaRPr lang="en-US" sz="1200" dirty="0"/>
        </a:p>
      </dgm:t>
    </dgm:pt>
    <dgm:pt modelId="{CDB5A14D-D835-F942-8CBC-0983290E734F}" type="parTrans" cxnId="{82FB535A-B384-8B4E-B549-00AF85EA9E40}">
      <dgm:prSet/>
      <dgm:spPr/>
      <dgm:t>
        <a:bodyPr/>
        <a:lstStyle/>
        <a:p>
          <a:endParaRPr lang="en-US"/>
        </a:p>
      </dgm:t>
    </dgm:pt>
    <dgm:pt modelId="{1C8594DC-7863-894A-AB3A-3C29378DA5DA}" type="sibTrans" cxnId="{82FB535A-B384-8B4E-B549-00AF85EA9E40}">
      <dgm:prSet/>
      <dgm:spPr/>
      <dgm:t>
        <a:bodyPr/>
        <a:lstStyle/>
        <a:p>
          <a:endParaRPr lang="en-US"/>
        </a:p>
      </dgm:t>
    </dgm:pt>
    <dgm:pt modelId="{1B5B7AFB-57D0-C24C-A786-43096A5AC225}">
      <dgm:prSet phldrT="[Text]" custT="1"/>
      <dgm:spPr/>
      <dgm:t>
        <a:bodyPr/>
        <a:lstStyle/>
        <a:p>
          <a:r>
            <a:rPr lang="en-US" sz="1200" b="0" i="0" u="none" dirty="0"/>
            <a:t>The number, order, and type of parameters must match in both files. </a:t>
          </a:r>
          <a:endParaRPr lang="en-US" sz="1200" dirty="0"/>
        </a:p>
      </dgm:t>
    </dgm:pt>
    <dgm:pt modelId="{32186EC6-F23F-5E4C-B07A-FA236FDEBBB8}" type="parTrans" cxnId="{8634D0B5-E374-B24C-84F7-AA700BBFCA41}">
      <dgm:prSet/>
      <dgm:spPr/>
      <dgm:t>
        <a:bodyPr/>
        <a:lstStyle/>
        <a:p>
          <a:endParaRPr lang="en-US"/>
        </a:p>
      </dgm:t>
    </dgm:pt>
    <dgm:pt modelId="{5440F09A-A7D1-C148-BC9C-43BB1414766E}" type="sibTrans" cxnId="{8634D0B5-E374-B24C-84F7-AA700BBFCA41}">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0" presStyleCnt="4">
        <dgm:presLayoutVars>
          <dgm:chMax val="0"/>
          <dgm:chPref val="0"/>
          <dgm:bulletEnabled val="1"/>
        </dgm:presLayoutVars>
      </dgm:prSet>
      <dgm:spPr/>
    </dgm:pt>
    <dgm:pt modelId="{F4029437-CD94-9243-A4E6-230F610E13A7}" type="pres">
      <dgm:prSet presAssocID="{EF6F7FB3-D3E5-4548-BD1E-B72774CF5B92}" presName="desTx" presStyleLbl="alignAccFollowNode1" presStyleIdx="0" presStyleCnt="4">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1" presStyleCnt="4">
        <dgm:presLayoutVars>
          <dgm:chMax val="0"/>
          <dgm:chPref val="0"/>
          <dgm:bulletEnabled val="1"/>
        </dgm:presLayoutVars>
      </dgm:prSet>
      <dgm:spPr/>
    </dgm:pt>
    <dgm:pt modelId="{7186DE0A-A468-F844-8F3D-BC4EBCFEBA62}" type="pres">
      <dgm:prSet presAssocID="{2FB6C851-BFD2-3B40-A74C-E0990FBE416A}" presName="desTx" presStyleLbl="alignAccFollowNode1" presStyleIdx="1" presStyleCnt="4">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2" presStyleCnt="4">
        <dgm:presLayoutVars>
          <dgm:chMax val="0"/>
          <dgm:chPref val="0"/>
          <dgm:bulletEnabled val="1"/>
        </dgm:presLayoutVars>
      </dgm:prSet>
      <dgm:spPr/>
    </dgm:pt>
    <dgm:pt modelId="{2564D77F-41EC-7E4A-A245-9110782AA240}" type="pres">
      <dgm:prSet presAssocID="{EAA399BC-9721-B743-908A-4746BA10215A}" presName="desTx" presStyleLbl="alignAccFollowNode1" presStyleIdx="2" presStyleCnt="4">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3" presStyleCnt="4">
        <dgm:presLayoutVars>
          <dgm:chMax val="0"/>
          <dgm:chPref val="0"/>
          <dgm:bulletEnabled val="1"/>
        </dgm:presLayoutVars>
      </dgm:prSet>
      <dgm:spPr/>
    </dgm:pt>
    <dgm:pt modelId="{FDEEE735-727B-4C43-89AB-134B242C80FB}" type="pres">
      <dgm:prSet presAssocID="{4AC71D21-1492-3348-B7A6-5C2BCBD902D5}" presName="desTx" presStyleLbl="alignAccFollowNode1" presStyleIdx="3" presStyleCnt="4">
        <dgm:presLayoutVars>
          <dgm:bulletEnabled val="1"/>
        </dgm:presLayoutVars>
      </dgm:prSet>
      <dgm:spPr/>
    </dgm:pt>
  </dgm:ptLst>
  <dgm:cxnLst>
    <dgm:cxn modelId="{FD0B1200-53D5-5D44-863A-887D476A292F}" srcId="{EF6F7FB3-D3E5-4548-BD1E-B72774CF5B92}" destId="{0B5810C7-3373-0940-9DA0-77F9BAD20039}" srcOrd="4" destOrd="0" parTransId="{1074E96E-3C25-BF41-BE46-317BB44DD0E1}" sibTransId="{E977F061-804B-5244-A884-6E2795799812}"/>
    <dgm:cxn modelId="{5FDCB007-511C-44C0-A8EE-81330A0F227B}" type="presOf" srcId="{0B5810C7-3373-0940-9DA0-77F9BAD20039}" destId="{F4029437-CD94-9243-A4E6-230F610E13A7}" srcOrd="0" destOrd="4"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9C8F0D-F3BA-4943-8BAC-4651AD899232}" type="presOf" srcId="{B91B23CD-F7DF-CF4C-AA96-C5AE11072FEB}" destId="{F4029437-CD94-9243-A4E6-230F610E13A7}" srcOrd="0" destOrd="6"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224ED617-1402-43A5-B618-7E1C7BB8221E}" type="presOf" srcId="{AA7AC6F9-EA5C-C24F-9AA7-367614229CE5}" destId="{2564D77F-41EC-7E4A-A245-9110782AA240}" srcOrd="0" destOrd="3" presId="urn:microsoft.com/office/officeart/2005/8/layout/hList1"/>
    <dgm:cxn modelId="{214AEC25-2A3B-1A43-B0C9-5CECC3A466F0}" srcId="{601D3C9A-68CD-1945-ADB7-DA2E05599C5A}" destId="{EAA399BC-9721-B743-908A-4746BA10215A}" srcOrd="2" destOrd="0" parTransId="{9D19C632-3919-DE45-880A-E2AD016F0B25}" sibTransId="{68227547-BC39-C347-B8C5-E1BC84A76011}"/>
    <dgm:cxn modelId="{41850427-EEDF-5045-A5A3-CC02A5213458}" srcId="{2FB6C851-BFD2-3B40-A74C-E0990FBE416A}" destId="{EC49F6C6-D997-084C-8612-2D46DD5A7176}" srcOrd="1" destOrd="0" parTransId="{C75998B6-BE82-E547-ACB4-638FA3460B92}" sibTransId="{04738DDB-438E-1046-A266-A7B39AB944D1}"/>
    <dgm:cxn modelId="{0D77FE37-D743-DC44-B5FE-CAF38B913D00}" srcId="{EF6F7FB3-D3E5-4548-BD1E-B72774CF5B92}" destId="{B91B23CD-F7DF-CF4C-AA96-C5AE11072FEB}" srcOrd="6" destOrd="0" parTransId="{47E11246-F866-CA4C-81FD-1C2892219D62}" sibTransId="{E794840E-11F5-7446-B800-5B716BED825D}"/>
    <dgm:cxn modelId="{D0E61239-B286-4E49-B9C0-AD0E9D2C34E2}" type="presOf" srcId="{3449CA0B-085B-7749-B88D-B2F1CBAE4B99}" destId="{FDEEE735-727B-4C43-89AB-134B242C80FB}"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F10A845F-9A6C-4917-B14B-47AD39DB312E}" type="presOf" srcId="{96D68090-243F-3A41-A3C1-758EE278E71A}" destId="{2564D77F-41EC-7E4A-A245-9110782AA240}" srcOrd="0" destOrd="2" presId="urn:microsoft.com/office/officeart/2005/8/layout/hList1"/>
    <dgm:cxn modelId="{72BE1860-3FFE-46DB-896F-E057A593EDE6}" type="presOf" srcId="{EF6F7FB3-D3E5-4548-BD1E-B72774CF5B92}" destId="{F559DA8F-9B70-E042-87E3-BAA2CDF72A58}" srcOrd="0" destOrd="0" presId="urn:microsoft.com/office/officeart/2005/8/layout/hList1"/>
    <dgm:cxn modelId="{990EFB41-459E-4148-B8CB-EF436A247B7F}" type="presOf" srcId="{CECDF376-691C-C44B-B0DD-0F70BA2E24CB}" destId="{F4029437-CD94-9243-A4E6-230F610E13A7}" srcOrd="0" destOrd="5" presId="urn:microsoft.com/office/officeart/2005/8/layout/hList1"/>
    <dgm:cxn modelId="{40E76544-6820-4443-B91A-689EEAB9E5D0}" srcId="{EAA399BC-9721-B743-908A-4746BA10215A}" destId="{96D68090-243F-3A41-A3C1-758EE278E71A}" srcOrd="2" destOrd="0" parTransId="{341B4FDE-85BA-E54D-8A5C-5ABCAFC85046}" sibTransId="{595B3F28-7CF7-094A-B06B-18FAD0834E66}"/>
    <dgm:cxn modelId="{156F904B-3F3E-4322-A7F5-BB1943A18F24}" type="presOf" srcId="{4AC71D21-1492-3348-B7A6-5C2BCBD902D5}" destId="{0E32FB3D-56EA-B24A-9E94-469C9E603473}" srcOrd="0" destOrd="0" presId="urn:microsoft.com/office/officeart/2005/8/layout/hList1"/>
    <dgm:cxn modelId="{CBA8774D-2D6F-4D59-9D8B-AEB0A61B6D93}" type="presOf" srcId="{6117F474-1AD4-E141-93EE-43518BA761D0}" destId="{F4029437-CD94-9243-A4E6-230F610E13A7}" srcOrd="0" destOrd="2" presId="urn:microsoft.com/office/officeart/2005/8/layout/hList1"/>
    <dgm:cxn modelId="{8458D34F-8264-40AB-B7E0-72C211D4A62D}" type="presOf" srcId="{E307C5A6-904E-1343-979E-725A9F8FF469}" destId="{F4029437-CD94-9243-A4E6-230F610E13A7}" srcOrd="0" destOrd="3" presId="urn:microsoft.com/office/officeart/2005/8/layout/hList1"/>
    <dgm:cxn modelId="{F5AC0A55-24F0-4070-8677-BB9F0AED3F39}" type="presOf" srcId="{75170E8D-BC1B-D740-BEB0-FD19E339036A}" destId="{FDEEE735-727B-4C43-89AB-134B242C80FB}" srcOrd="0" destOrd="1" presId="urn:microsoft.com/office/officeart/2005/8/layout/hList1"/>
    <dgm:cxn modelId="{F2485D58-B6ED-4234-B98F-558AB20DDA61}" type="presOf" srcId="{2FB6C851-BFD2-3B40-A74C-E0990FBE416A}" destId="{8676B8BF-5D93-364A-B177-E7FD628083CA}" srcOrd="0" destOrd="0" presId="urn:microsoft.com/office/officeart/2005/8/layout/hList1"/>
    <dgm:cxn modelId="{82FB535A-B384-8B4E-B549-00AF85EA9E40}" srcId="{4AC71D21-1492-3348-B7A6-5C2BCBD902D5}" destId="{75170E8D-BC1B-D740-BEB0-FD19E339036A}" srcOrd="1" destOrd="0" parTransId="{CDB5A14D-D835-F942-8CBC-0983290E734F}" sibTransId="{1C8594DC-7863-894A-AB3A-3C29378DA5DA}"/>
    <dgm:cxn modelId="{79767784-D30B-D644-AC3B-EA55D508888D}" srcId="{EF6F7FB3-D3E5-4548-BD1E-B72774CF5B92}" destId="{EE74E1FD-36DB-DD46-BF13-76B65F0AC30D}" srcOrd="1" destOrd="0" parTransId="{281854AB-1940-9640-91D9-010541892070}" sibTransId="{F5279980-9FF2-C045-884E-BE776457C196}"/>
    <dgm:cxn modelId="{BF1AB288-267C-5A47-9DEF-EC0E1448C889}" srcId="{EF6F7FB3-D3E5-4548-BD1E-B72774CF5B92}" destId="{E307C5A6-904E-1343-979E-725A9F8FF469}" srcOrd="3" destOrd="0" parTransId="{E69A362D-31C4-5643-9D0E-649F4C0B00CF}" sibTransId="{44B053BC-D2FA-7741-B6F2-E2D2781B7CC5}"/>
    <dgm:cxn modelId="{30B2A289-85C8-5C44-B639-DEB87A3D4C3E}" srcId="{EAA399BC-9721-B743-908A-4746BA10215A}" destId="{AA7AC6F9-EA5C-C24F-9AA7-367614229CE5}" srcOrd="3" destOrd="0" parTransId="{503DE381-F5D2-B54F-AB4A-42323F6A79F3}" sibTransId="{208FA664-611E-7E43-9E53-988972A2FAAB}"/>
    <dgm:cxn modelId="{2F9C3C8B-E1B3-4B0C-93C8-79A1F6844A4C}" type="presOf" srcId="{7F9CA40A-FB21-EB4C-90CE-2B1CFA54D562}" destId="{7186DE0A-A468-F844-8F3D-BC4EBCFEBA62}" srcOrd="0" destOrd="0" presId="urn:microsoft.com/office/officeart/2005/8/layout/hList1"/>
    <dgm:cxn modelId="{565EFA94-F6F3-44B6-AD0E-3994EB1CF176}" type="presOf" srcId="{EAA399BC-9721-B743-908A-4746BA10215A}" destId="{0F2E45FF-7FE9-FF49-8DB5-095D84C0F1B7}" srcOrd="0" destOrd="0" presId="urn:microsoft.com/office/officeart/2005/8/layout/hList1"/>
    <dgm:cxn modelId="{636B0FA4-895C-4330-B737-07B1B24041CE}" type="presOf" srcId="{EC49F6C6-D997-084C-8612-2D46DD5A7176}" destId="{7186DE0A-A468-F844-8F3D-BC4EBCFEBA62}" srcOrd="0" destOrd="1" presId="urn:microsoft.com/office/officeart/2005/8/layout/hList1"/>
    <dgm:cxn modelId="{7FD947A6-3EB1-AC4C-A596-D83DB505DDC2}" srcId="{EF6F7FB3-D3E5-4548-BD1E-B72774CF5B92}" destId="{6117F474-1AD4-E141-93EE-43518BA761D0}" srcOrd="2" destOrd="0" parTransId="{154DB7A4-8083-F649-91AF-57B30B11431B}" sibTransId="{53EB06E2-B7B4-B24B-8369-1DCCB801E6BD}"/>
    <dgm:cxn modelId="{4FA93AAC-1420-4097-8A19-5B11CF3F0BE2}" type="presOf" srcId="{00915C91-2BAC-CB44-9FA5-FC2883C261E5}" destId="{F4029437-CD94-9243-A4E6-230F610E13A7}" srcOrd="0" destOrd="0" presId="urn:microsoft.com/office/officeart/2005/8/layout/hList1"/>
    <dgm:cxn modelId="{4E5E23AE-F847-F245-B4D9-A1C962CFFF26}" srcId="{601D3C9A-68CD-1945-ADB7-DA2E05599C5A}" destId="{2FB6C851-BFD2-3B40-A74C-E0990FBE416A}" srcOrd="1" destOrd="0" parTransId="{69ED7902-97D8-9649-A75F-28025A394F19}" sibTransId="{D8C50E35-3552-B448-B86F-D91AA94E1D78}"/>
    <dgm:cxn modelId="{81851DAF-5233-42F2-B9CC-C86F640F8BA8}" type="presOf" srcId="{E60FA42F-2092-AC4D-B4C3-16BD20080929}" destId="{2564D77F-41EC-7E4A-A245-9110782AA240}" srcOrd="0" destOrd="1" presId="urn:microsoft.com/office/officeart/2005/8/layout/hList1"/>
    <dgm:cxn modelId="{8634D0B5-E374-B24C-84F7-AA700BBFCA41}" srcId="{4AC71D21-1492-3348-B7A6-5C2BCBD902D5}" destId="{1B5B7AFB-57D0-C24C-A786-43096A5AC225}" srcOrd="2" destOrd="0" parTransId="{32186EC6-F23F-5E4C-B07A-FA236FDEBBB8}" sibTransId="{5440F09A-A7D1-C148-BC9C-43BB1414766E}"/>
    <dgm:cxn modelId="{C926C7C9-D26C-EB45-8190-82A256F827A2}" srcId="{601D3C9A-68CD-1945-ADB7-DA2E05599C5A}" destId="{EF6F7FB3-D3E5-4548-BD1E-B72774CF5B92}" srcOrd="0" destOrd="0" parTransId="{45730361-F738-1D4E-A3C5-411A94807EC9}" sibTransId="{3EE142BA-28AD-B148-A13A-EC6787931D89}"/>
    <dgm:cxn modelId="{B000F4D1-9727-D546-B993-80AA1812FC0B}" srcId="{EF6F7FB3-D3E5-4548-BD1E-B72774CF5B92}" destId="{00915C91-2BAC-CB44-9FA5-FC2883C261E5}" srcOrd="0" destOrd="0" parTransId="{3659585A-5D96-424C-8A2E-8A3687C2367C}" sibTransId="{2270BCC6-9E2B-4C4C-BCD4-A223C629D2A8}"/>
    <dgm:cxn modelId="{933BA9D8-5EB0-4C2D-9C25-B1CCDD4F78A7}" type="presOf" srcId="{1B5B7AFB-57D0-C24C-A786-43096A5AC225}" destId="{FDEEE735-727B-4C43-89AB-134B242C80FB}" srcOrd="0" destOrd="2" presId="urn:microsoft.com/office/officeart/2005/8/layout/hList1"/>
    <dgm:cxn modelId="{E8F1C6E3-BD50-2E47-B102-7401C727B357}" srcId="{601D3C9A-68CD-1945-ADB7-DA2E05599C5A}" destId="{4AC71D21-1492-3348-B7A6-5C2BCBD902D5}" srcOrd="3" destOrd="0" parTransId="{9402E8AD-84FA-DD4F-859F-CDEB1436E7F3}" sibTransId="{EBA507D5-0C59-254B-A7F5-1D1427C5D840}"/>
    <dgm:cxn modelId="{91A6E0E6-C0B4-5744-BE8E-5F1810902007}" srcId="{EF6F7FB3-D3E5-4548-BD1E-B72774CF5B92}" destId="{CECDF376-691C-C44B-B0DD-0F70BA2E24CB}" srcOrd="5" destOrd="0" parTransId="{CE7163BD-01C1-9A4E-B5E0-B56A9F744374}" sibTransId="{8E30113C-80AA-8645-A0A3-DB636CFE456E}"/>
    <dgm:cxn modelId="{2CD8ACE9-31C3-BD47-9AC6-6CBEBC9A60F5}" srcId="{EAA399BC-9721-B743-908A-4746BA10215A}" destId="{E60FA42F-2092-AC4D-B4C3-16BD20080929}" srcOrd="1" destOrd="0" parTransId="{1150579C-4A8E-F44A-88B2-202B8B0F39B7}" sibTransId="{D9D76843-11A8-994C-B312-F6DE1F70CC86}"/>
    <dgm:cxn modelId="{3B1850F3-D12D-4944-A12C-AD7FEDC39E2C}" type="presOf" srcId="{FDF5CD54-EA25-3942-956C-82E1908345B4}" destId="{2564D77F-41EC-7E4A-A245-9110782AA240}" srcOrd="0" destOrd="0" presId="urn:microsoft.com/office/officeart/2005/8/layout/hList1"/>
    <dgm:cxn modelId="{B6C20CFB-7347-4098-ABDD-81E1829D74D3}" type="presOf" srcId="{EE74E1FD-36DB-DD46-BF13-76B65F0AC30D}" destId="{F4029437-CD94-9243-A4E6-230F610E13A7}" srcOrd="0" destOrd="1" presId="urn:microsoft.com/office/officeart/2005/8/layout/hList1"/>
    <dgm:cxn modelId="{64B63438-EB4D-4BF5-B676-9A0E8C1F9D55}" type="presParOf" srcId="{A0ED3AAA-DC34-4245-958B-1C17AB663406}" destId="{69D527AC-4091-1346-A593-21DCC20F4CD2}" srcOrd="0" destOrd="0" presId="urn:microsoft.com/office/officeart/2005/8/layout/hList1"/>
    <dgm:cxn modelId="{AB11F707-4D81-4AFD-8BBC-713C04B86270}" type="presParOf" srcId="{69D527AC-4091-1346-A593-21DCC20F4CD2}" destId="{F559DA8F-9B70-E042-87E3-BAA2CDF72A58}" srcOrd="0" destOrd="0" presId="urn:microsoft.com/office/officeart/2005/8/layout/hList1"/>
    <dgm:cxn modelId="{9B1013EF-BA7E-49A9-B8F4-D9C839112DF1}" type="presParOf" srcId="{69D527AC-4091-1346-A593-21DCC20F4CD2}" destId="{F4029437-CD94-9243-A4E6-230F610E13A7}" srcOrd="1" destOrd="0" presId="urn:microsoft.com/office/officeart/2005/8/layout/hList1"/>
    <dgm:cxn modelId="{34B5AD7F-5D6A-436E-9E82-92176472719B}" type="presParOf" srcId="{A0ED3AAA-DC34-4245-958B-1C17AB663406}" destId="{11938A7F-2459-F64D-895E-B6AD2A84019D}" srcOrd="1" destOrd="0" presId="urn:microsoft.com/office/officeart/2005/8/layout/hList1"/>
    <dgm:cxn modelId="{166ED076-345D-427F-A23A-5424EDEC5597}" type="presParOf" srcId="{A0ED3AAA-DC34-4245-958B-1C17AB663406}" destId="{2951423E-C911-9B43-ADFF-461A2AFE3377}" srcOrd="2" destOrd="0" presId="urn:microsoft.com/office/officeart/2005/8/layout/hList1"/>
    <dgm:cxn modelId="{7DE045AB-80A5-4CBA-AD75-7645D1761D57}" type="presParOf" srcId="{2951423E-C911-9B43-ADFF-461A2AFE3377}" destId="{8676B8BF-5D93-364A-B177-E7FD628083CA}" srcOrd="0" destOrd="0" presId="urn:microsoft.com/office/officeart/2005/8/layout/hList1"/>
    <dgm:cxn modelId="{AB2DC34B-6E41-4426-8891-4B5645B93508}" type="presParOf" srcId="{2951423E-C911-9B43-ADFF-461A2AFE3377}" destId="{7186DE0A-A468-F844-8F3D-BC4EBCFEBA62}" srcOrd="1" destOrd="0" presId="urn:microsoft.com/office/officeart/2005/8/layout/hList1"/>
    <dgm:cxn modelId="{E74A17ED-FE0C-4FF5-888A-D368DA2909E8}" type="presParOf" srcId="{A0ED3AAA-DC34-4245-958B-1C17AB663406}" destId="{3AC3ACB8-807E-604C-8E3A-3CD69377C72A}" srcOrd="3" destOrd="0" presId="urn:microsoft.com/office/officeart/2005/8/layout/hList1"/>
    <dgm:cxn modelId="{908737E5-8D6C-45B4-9F1B-11B2E22B1019}" type="presParOf" srcId="{A0ED3AAA-DC34-4245-958B-1C17AB663406}" destId="{95B24CD4-4F2F-AE4E-BB09-A3D301E9DD1F}" srcOrd="4" destOrd="0" presId="urn:microsoft.com/office/officeart/2005/8/layout/hList1"/>
    <dgm:cxn modelId="{9C6718A4-167C-45E6-9D82-4D3FCFDBBBBF}" type="presParOf" srcId="{95B24CD4-4F2F-AE4E-BB09-A3D301E9DD1F}" destId="{0F2E45FF-7FE9-FF49-8DB5-095D84C0F1B7}" srcOrd="0" destOrd="0" presId="urn:microsoft.com/office/officeart/2005/8/layout/hList1"/>
    <dgm:cxn modelId="{15D87AED-C6B5-4F46-A9F6-D13F51626A13}" type="presParOf" srcId="{95B24CD4-4F2F-AE4E-BB09-A3D301E9DD1F}" destId="{2564D77F-41EC-7E4A-A245-9110782AA240}" srcOrd="1" destOrd="0" presId="urn:microsoft.com/office/officeart/2005/8/layout/hList1"/>
    <dgm:cxn modelId="{C24ED73C-9011-4286-AA93-FBDCCAB43A80}" type="presParOf" srcId="{A0ED3AAA-DC34-4245-958B-1C17AB663406}" destId="{9C501F13-EA3C-4147-AD30-2F4EFBDDBF6D}" srcOrd="5" destOrd="0" presId="urn:microsoft.com/office/officeart/2005/8/layout/hList1"/>
    <dgm:cxn modelId="{CB6AE4F2-1309-4407-A233-9A403A369241}" type="presParOf" srcId="{A0ED3AAA-DC34-4245-958B-1C17AB663406}" destId="{327C4128-FFE2-EA43-9A30-3D5C39C803F1}" srcOrd="6" destOrd="0" presId="urn:microsoft.com/office/officeart/2005/8/layout/hList1"/>
    <dgm:cxn modelId="{738F9B55-EB4B-4831-AE47-D10EC79CEF6A}" type="presParOf" srcId="{327C4128-FFE2-EA43-9A30-3D5C39C803F1}" destId="{0E32FB3D-56EA-B24A-9E94-469C9E603473}" srcOrd="0" destOrd="0" presId="urn:microsoft.com/office/officeart/2005/8/layout/hList1"/>
    <dgm:cxn modelId="{3E57AA2E-B3ED-4B5C-ACEA-4C4EB7F14293}" type="presParOf" srcId="{327C4128-FFE2-EA43-9A30-3D5C39C803F1}" destId="{FDEEE735-727B-4C43-89AB-134B242C80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Workflow</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61897AD0-23B2-154C-86D2-E400A5896A0E}">
      <dgm:prSet phldrT="[Text]" custT="1"/>
      <dgm:spPr/>
      <dgm:t>
        <a:bodyPr/>
        <a:lstStyle/>
        <a:p>
          <a:r>
            <a:rPr lang="en-US" sz="1400" dirty="0"/>
            <a:t>Collection of states and actions that models application business logic as a state machine</a:t>
          </a:r>
          <a:br>
            <a:rPr lang="en-US" sz="1400" dirty="0"/>
          </a:br>
          <a:endParaRPr lang="en-US" sz="1400" dirty="0"/>
        </a:p>
      </dgm:t>
    </dgm:pt>
    <dgm:pt modelId="{2AFF3A5B-30E9-BF44-86B7-A93B6D95B237}" type="parTrans" cxnId="{F6B7C667-F7D9-AE4C-B15E-F158C7A45FAF}">
      <dgm:prSet/>
      <dgm:spPr/>
      <dgm:t>
        <a:bodyPr/>
        <a:lstStyle/>
        <a:p>
          <a:endParaRPr lang="en-US"/>
        </a:p>
      </dgm:t>
    </dgm:pt>
    <dgm:pt modelId="{EE034AE8-6B16-2D49-88B4-99C48610820A}" type="sibTrans" cxnId="{F6B7C667-F7D9-AE4C-B15E-F158C7A45FAF}">
      <dgm:prSet/>
      <dgm:spPr/>
      <dgm:t>
        <a:bodyPr/>
        <a:lstStyle/>
        <a:p>
          <a:endParaRPr lang="en-US"/>
        </a:p>
      </dgm:t>
    </dgm:pt>
    <dgm:pt modelId="{2FB6C851-BFD2-3B40-A74C-E0990FBE416A}">
      <dgm:prSet phldrT="[Text]"/>
      <dgm:spPr/>
      <dgm:t>
        <a:bodyPr/>
        <a:lstStyle/>
        <a:p>
          <a:r>
            <a:rPr lang="en-US" dirty="0"/>
            <a:t>Constructor</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400" dirty="0"/>
            <a:t>Defines input parameters for an instance of a workflow</a:t>
          </a:r>
          <a:br>
            <a:rPr lang="en-US" sz="1400" dirty="0"/>
          </a:br>
          <a:endParaRPr lang="en-US" sz="14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0572007E-4073-C647-B20C-6FBBED67E818}">
      <dgm:prSet phldrT="[Text]" custT="1"/>
      <dgm:spPr/>
      <dgm:t>
        <a:bodyPr/>
        <a:lstStyle/>
        <a:p>
          <a:r>
            <a:rPr lang="en-US" sz="1400" dirty="0"/>
            <a:t>Maps to the Parameters column of the chart on the previous slide</a:t>
          </a:r>
        </a:p>
      </dgm:t>
    </dgm:pt>
    <dgm:pt modelId="{3E7BD8DD-63F0-534F-AC45-93135C8340A4}" type="parTrans" cxnId="{566BC760-462F-1347-8C8C-1F9352B5FAB0}">
      <dgm:prSet/>
      <dgm:spPr/>
      <dgm:t>
        <a:bodyPr/>
        <a:lstStyle/>
        <a:p>
          <a:endParaRPr lang="en-US"/>
        </a:p>
      </dgm:t>
    </dgm:pt>
    <dgm:pt modelId="{0D4E0869-FC29-F242-BDBC-3E8F1DE89E82}" type="sibTrans" cxnId="{566BC760-462F-1347-8C8C-1F9352B5FAB0}">
      <dgm:prSet/>
      <dgm:spPr/>
      <dgm:t>
        <a:bodyPr/>
        <a:lstStyle/>
        <a:p>
          <a:endParaRPr lang="en-US"/>
        </a:p>
      </dgm:t>
    </dgm:pt>
    <dgm:pt modelId="{EAA399BC-9721-B743-908A-4746BA10215A}">
      <dgm:prSet phldrT="[Text]"/>
      <dgm:spPr/>
      <dgm:t>
        <a:bodyPr/>
        <a:lstStyle/>
        <a:p>
          <a:r>
            <a:rPr lang="en-US" dirty="0"/>
            <a:t>Functions</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400" dirty="0"/>
            <a:t>Defines functions that can be executed on the workflow</a:t>
          </a:r>
          <a:br>
            <a:rPr lang="en-US" sz="1400" dirty="0"/>
          </a:br>
          <a:endParaRPr lang="en-US" sz="1400" dirty="0"/>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3F6B1B6C-C2FD-1C47-8097-F4FA7254109B}">
      <dgm:prSet phldrT="[Text]" custT="1"/>
      <dgm:spPr/>
      <dgm:t>
        <a:bodyPr/>
        <a:lstStyle/>
        <a:p>
          <a:r>
            <a:rPr lang="en-US" sz="1400" dirty="0"/>
            <a:t>The corresponding smart contract must use the same Name for the applicable function</a:t>
          </a:r>
          <a:br>
            <a:rPr lang="en-US" sz="1400" dirty="0"/>
          </a:br>
          <a:endParaRPr lang="en-US" sz="1400" dirty="0"/>
        </a:p>
      </dgm:t>
    </dgm:pt>
    <dgm:pt modelId="{813B38D7-AB05-6B4C-8AF3-3347A563928B}" type="parTrans" cxnId="{BE905F82-9FCC-004A-A0F6-A9FF26C784DD}">
      <dgm:prSet/>
      <dgm:spPr/>
      <dgm:t>
        <a:bodyPr/>
        <a:lstStyle/>
        <a:p>
          <a:endParaRPr lang="en-US"/>
        </a:p>
      </dgm:t>
    </dgm:pt>
    <dgm:pt modelId="{AE024315-D86F-F54A-AE4D-969E581EC9AB}" type="sibTrans" cxnId="{BE905F82-9FCC-004A-A0F6-A9FF26C784DD}">
      <dgm:prSet/>
      <dgm:spPr/>
      <dgm:t>
        <a:bodyPr/>
        <a:lstStyle/>
        <a:p>
          <a:endParaRPr lang="en-US"/>
        </a:p>
      </dgm:t>
    </dgm:pt>
    <dgm:pt modelId="{4AC71D21-1492-3348-B7A6-5C2BCBD902D5}">
      <dgm:prSet phldrT="[Text]"/>
      <dgm:spPr/>
      <dgm:t>
        <a:bodyPr/>
        <a:lstStyle/>
        <a:p>
          <a:r>
            <a:rPr lang="en-US" dirty="0"/>
            <a:t>State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80FFFCBF-D80C-E747-9FB3-93483E5A3463}">
      <dgm:prSet phldrT="[Text]"/>
      <dgm:spPr/>
      <dgm:t>
        <a:bodyPr/>
        <a:lstStyle/>
        <a:p>
          <a:r>
            <a:rPr lang="en-US" dirty="0"/>
            <a:t>Transitions</a:t>
          </a:r>
        </a:p>
      </dgm:t>
    </dgm:pt>
    <dgm:pt modelId="{FA0FC2D7-8BF9-8640-90C1-8FE764979180}" type="parTrans" cxnId="{D39492EB-3035-754B-8D64-1AE51287BD5E}">
      <dgm:prSet/>
      <dgm:spPr/>
      <dgm:t>
        <a:bodyPr/>
        <a:lstStyle/>
        <a:p>
          <a:endParaRPr lang="en-US"/>
        </a:p>
      </dgm:t>
    </dgm:pt>
    <dgm:pt modelId="{B631F706-114F-6B4B-B377-0D22CADAC5BE}" type="sibTrans" cxnId="{D39492EB-3035-754B-8D64-1AE51287BD5E}">
      <dgm:prSet/>
      <dgm:spPr/>
      <dgm:t>
        <a:bodyPr/>
        <a:lstStyle/>
        <a:p>
          <a:endParaRPr lang="en-US"/>
        </a:p>
      </dgm:t>
    </dgm:pt>
    <dgm:pt modelId="{3449CA0B-085B-7749-B88D-B2F1CBAE4B99}">
      <dgm:prSet phldrT="[Text]" custT="1"/>
      <dgm:spPr/>
      <dgm:t>
        <a:bodyPr/>
        <a:lstStyle/>
        <a:p>
          <a:r>
            <a:rPr lang="en-US" sz="1400" b="0" i="0" u="none" dirty="0"/>
            <a:t>States that define the status within the workflow</a:t>
          </a:r>
          <a:br>
            <a:rPr lang="en-US" sz="1400" b="0" i="0" u="none" dirty="0"/>
          </a:br>
          <a:endParaRPr lang="en-US" sz="14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74EEF99F-C04B-464D-AA6E-2ABE3105634C}">
      <dgm:prSet phldrT="[Text]"/>
      <dgm:spPr/>
      <dgm:t>
        <a:bodyPr/>
        <a:lstStyle/>
        <a:p>
          <a:endParaRPr lang="en-US" sz="1900" dirty="0"/>
        </a:p>
      </dgm:t>
    </dgm:pt>
    <dgm:pt modelId="{68EFC4DF-08A0-FF4E-B77B-D8305E73CB60}" type="parTrans" cxnId="{77FFF58D-858B-0547-BAD1-616902D27719}">
      <dgm:prSet/>
      <dgm:spPr/>
      <dgm:t>
        <a:bodyPr/>
        <a:lstStyle/>
        <a:p>
          <a:endParaRPr lang="en-US"/>
        </a:p>
      </dgm:t>
    </dgm:pt>
    <dgm:pt modelId="{AB0610CE-253F-7B4E-AF5B-51EFA1DA3176}" type="sibTrans" cxnId="{77FFF58D-858B-0547-BAD1-616902D27719}">
      <dgm:prSet/>
      <dgm:spPr/>
      <dgm:t>
        <a:bodyPr/>
        <a:lstStyle/>
        <a:p>
          <a:endParaRPr lang="en-US"/>
        </a:p>
      </dgm:t>
    </dgm:pt>
    <dgm:pt modelId="{72BFE7F6-A176-1B47-B070-566F06008D8C}">
      <dgm:prSet phldrT="[Text]"/>
      <dgm:spPr/>
      <dgm:t>
        <a:bodyPr/>
        <a:lstStyle/>
        <a:p>
          <a:r>
            <a:rPr lang="en-US" dirty="0"/>
            <a:t>Application Roles</a:t>
          </a:r>
        </a:p>
      </dgm:t>
    </dgm:pt>
    <dgm:pt modelId="{6296460E-5054-D444-AC51-E3DB89F21CCE}" type="parTrans" cxnId="{10A70716-29CE-FE44-BA03-48A47D324671}">
      <dgm:prSet/>
      <dgm:spPr/>
      <dgm:t>
        <a:bodyPr/>
        <a:lstStyle/>
        <a:p>
          <a:endParaRPr lang="en-US"/>
        </a:p>
      </dgm:t>
    </dgm:pt>
    <dgm:pt modelId="{AC214A4B-81DB-1847-BF7D-A045432B18AC}" type="sibTrans" cxnId="{10A70716-29CE-FE44-BA03-48A47D324671}">
      <dgm:prSet/>
      <dgm:spPr/>
      <dgm:t>
        <a:bodyPr/>
        <a:lstStyle/>
        <a:p>
          <a:endParaRPr lang="en-US"/>
        </a:p>
      </dgm:t>
    </dgm:pt>
    <dgm:pt modelId="{77CE68CE-4744-1E48-9CD9-6762BE8CF3E5}">
      <dgm:prSet phldrT="[Text]" custT="1"/>
      <dgm:spPr/>
      <dgm:t>
        <a:bodyPr/>
        <a:lstStyle/>
        <a:p>
          <a:r>
            <a:rPr lang="en-US" sz="1400" dirty="0"/>
            <a:t>Based on Personas</a:t>
          </a:r>
          <a:br>
            <a:rPr lang="en-US" sz="1400" dirty="0"/>
          </a:br>
          <a:endParaRPr lang="en-US" sz="1400" dirty="0"/>
        </a:p>
      </dgm:t>
    </dgm:pt>
    <dgm:pt modelId="{5A2A8D0B-AF86-4B47-BA2A-4A9FCA5112F5}" type="parTrans" cxnId="{5F32F18B-5F24-484F-8086-41258263B521}">
      <dgm:prSet/>
      <dgm:spPr/>
      <dgm:t>
        <a:bodyPr/>
        <a:lstStyle/>
        <a:p>
          <a:endParaRPr lang="en-US"/>
        </a:p>
      </dgm:t>
    </dgm:pt>
    <dgm:pt modelId="{B4FF8DBE-ED9B-314D-A9D4-F739EBDA79FA}" type="sibTrans" cxnId="{5F32F18B-5F24-484F-8086-41258263B521}">
      <dgm:prSet/>
      <dgm:spPr/>
      <dgm:t>
        <a:bodyPr/>
        <a:lstStyle/>
        <a:p>
          <a:endParaRPr lang="en-US"/>
        </a:p>
      </dgm:t>
    </dgm:pt>
    <dgm:pt modelId="{B0C1D075-519D-D541-B411-AA19E2440782}">
      <dgm:prSet phldrT="[Text]" custT="1"/>
      <dgm:spPr/>
      <dgm:t>
        <a:bodyPr/>
        <a:lstStyle/>
        <a:p>
          <a:r>
            <a:rPr lang="en-US" sz="1400" dirty="0"/>
            <a:t>Initiators start the workflow process</a:t>
          </a:r>
          <a:br>
            <a:rPr lang="en-US" sz="1400" dirty="0"/>
          </a:br>
          <a:endParaRPr lang="en-US" sz="1400" dirty="0"/>
        </a:p>
      </dgm:t>
    </dgm:pt>
    <dgm:pt modelId="{36D62F5A-F93E-114B-A35E-CBD70077A35D}" type="parTrans" cxnId="{AC37683B-1BB7-9449-B703-7E5680EE93AA}">
      <dgm:prSet/>
      <dgm:spPr/>
      <dgm:t>
        <a:bodyPr/>
        <a:lstStyle/>
        <a:p>
          <a:endParaRPr lang="en-US"/>
        </a:p>
      </dgm:t>
    </dgm:pt>
    <dgm:pt modelId="{028937EE-3E5F-3A42-B717-58AFEC735DDB}" type="sibTrans" cxnId="{AC37683B-1BB7-9449-B703-7E5680EE93AA}">
      <dgm:prSet/>
      <dgm:spPr/>
      <dgm:t>
        <a:bodyPr/>
        <a:lstStyle/>
        <a:p>
          <a:endParaRPr lang="en-US"/>
        </a:p>
      </dgm:t>
    </dgm:pt>
    <dgm:pt modelId="{DE0F52DB-5EE7-FE40-BFD8-0B4D5601F323}">
      <dgm:prSet phldrT="[Text]" custT="1"/>
      <dgm:spPr/>
      <dgm:t>
        <a:bodyPr/>
        <a:lstStyle/>
        <a:p>
          <a:r>
            <a:rPr lang="en-US" sz="1400" dirty="0"/>
            <a:t>Linked to security groups in Azure Active Directory</a:t>
          </a:r>
          <a:br>
            <a:rPr lang="en-US" sz="1400" dirty="0"/>
          </a:br>
          <a:endParaRPr lang="en-US" sz="1400" dirty="0"/>
        </a:p>
      </dgm:t>
    </dgm:pt>
    <dgm:pt modelId="{2EB32924-DDAF-1540-BDE0-E456B7A9442F}" type="parTrans" cxnId="{5E989A67-E22B-8543-81CD-2142806C5753}">
      <dgm:prSet/>
      <dgm:spPr/>
      <dgm:t>
        <a:bodyPr/>
        <a:lstStyle/>
        <a:p>
          <a:endParaRPr lang="en-US"/>
        </a:p>
      </dgm:t>
    </dgm:pt>
    <dgm:pt modelId="{D6307B99-4333-AF4D-BE11-26DE0D3F51A9}" type="sibTrans" cxnId="{5E989A67-E22B-8543-81CD-2142806C5753}">
      <dgm:prSet/>
      <dgm:spPr/>
      <dgm:t>
        <a:bodyPr/>
        <a:lstStyle/>
        <a:p>
          <a:endParaRPr lang="en-US"/>
        </a:p>
      </dgm:t>
    </dgm:pt>
    <dgm:pt modelId="{977BF214-530D-E541-B1C2-2A1FBB2286CD}">
      <dgm:prSet phldrT="[Text]" custT="1"/>
      <dgm:spPr/>
      <dgm:t>
        <a:bodyPr/>
        <a:lstStyle/>
        <a:p>
          <a:r>
            <a:rPr lang="en-US" sz="1400" dirty="0"/>
            <a:t>Participants modify workflow data</a:t>
          </a:r>
          <a:br>
            <a:rPr lang="en-US" sz="1400" dirty="0"/>
          </a:br>
          <a:endParaRPr lang="en-US" sz="1400" dirty="0"/>
        </a:p>
      </dgm:t>
    </dgm:pt>
    <dgm:pt modelId="{256354CA-5B13-944D-9191-EC46D2346C65}" type="parTrans" cxnId="{3626C794-6EC5-E049-BA04-83A85EFD6422}">
      <dgm:prSet/>
      <dgm:spPr/>
      <dgm:t>
        <a:bodyPr/>
        <a:lstStyle/>
        <a:p>
          <a:endParaRPr lang="en-US"/>
        </a:p>
      </dgm:t>
    </dgm:pt>
    <dgm:pt modelId="{9E0DD595-6F2F-6341-B7B8-41C7CD55033C}" type="sibTrans" cxnId="{3626C794-6EC5-E049-BA04-83A85EFD6422}">
      <dgm:prSet/>
      <dgm:spPr/>
      <dgm:t>
        <a:bodyPr/>
        <a:lstStyle/>
        <a:p>
          <a:endParaRPr lang="en-US"/>
        </a:p>
      </dgm:t>
    </dgm:pt>
    <dgm:pt modelId="{43F2E7D0-3E74-B845-BE41-42DB0FACEA8B}">
      <dgm:prSet phldrT="[Text]" custT="1"/>
      <dgm:spPr/>
      <dgm:t>
        <a:bodyPr/>
        <a:lstStyle/>
        <a:p>
          <a:r>
            <a:rPr lang="en-US" sz="1400" dirty="0"/>
            <a:t>Observers have read-only access</a:t>
          </a:r>
        </a:p>
      </dgm:t>
    </dgm:pt>
    <dgm:pt modelId="{675EC152-EC54-6743-92F6-22A4CD25A76D}" type="parTrans" cxnId="{7A7808F7-036D-E14B-BF51-437DF1337C4F}">
      <dgm:prSet/>
      <dgm:spPr/>
      <dgm:t>
        <a:bodyPr/>
        <a:lstStyle/>
        <a:p>
          <a:endParaRPr lang="en-US"/>
        </a:p>
      </dgm:t>
    </dgm:pt>
    <dgm:pt modelId="{DCF8342D-5DEC-5B46-9FB0-F38922BDD4C8}" type="sibTrans" cxnId="{7A7808F7-036D-E14B-BF51-437DF1337C4F}">
      <dgm:prSet/>
      <dgm:spPr/>
      <dgm:t>
        <a:bodyPr/>
        <a:lstStyle/>
        <a:p>
          <a:endParaRPr lang="en-US"/>
        </a:p>
      </dgm:t>
    </dgm:pt>
    <dgm:pt modelId="{2BDD560E-259A-1043-B69F-4E50683D23B4}">
      <dgm:prSet phldrT="[Text]" custT="1"/>
      <dgm:spPr/>
      <dgm:t>
        <a:bodyPr/>
        <a:lstStyle/>
        <a:p>
          <a:r>
            <a:rPr lang="en-US" sz="1400" dirty="0"/>
            <a:t>Each workflow consists of one or more smart contracts, which represent the business logic in code files.</a:t>
          </a:r>
        </a:p>
      </dgm:t>
    </dgm:pt>
    <dgm:pt modelId="{AB896C38-77DF-EA4F-951C-9C08278E7A6C}" type="parTrans" cxnId="{8939B885-AA08-CC44-98A9-F0D04D593118}">
      <dgm:prSet/>
      <dgm:spPr/>
      <dgm:t>
        <a:bodyPr/>
        <a:lstStyle/>
        <a:p>
          <a:endParaRPr lang="en-US"/>
        </a:p>
      </dgm:t>
    </dgm:pt>
    <dgm:pt modelId="{F35080B0-4799-6B46-9CCD-695C96AA4106}" type="sibTrans" cxnId="{8939B885-AA08-CC44-98A9-F0D04D593118}">
      <dgm:prSet/>
      <dgm:spPr/>
      <dgm:t>
        <a:bodyPr/>
        <a:lstStyle/>
        <a:p>
          <a:endParaRPr lang="en-US"/>
        </a:p>
      </dgm:t>
    </dgm:pt>
    <dgm:pt modelId="{419EBB9F-C03F-A740-AC96-D56E80F9FA41}">
      <dgm:prSet phldrT="[Text]" custT="1"/>
      <dgm:spPr/>
      <dgm:t>
        <a:bodyPr/>
        <a:lstStyle/>
        <a:p>
          <a:r>
            <a:rPr lang="en-US" sz="1400" dirty="0"/>
            <a:t>Maps to the Available Actions on the previous slide</a:t>
          </a:r>
        </a:p>
      </dgm:t>
    </dgm:pt>
    <dgm:pt modelId="{0505B23F-4979-4A46-B41F-1BB468E4A874}" type="parTrans" cxnId="{DD238F8C-01D5-3241-B821-FC71580B2F78}">
      <dgm:prSet/>
      <dgm:spPr/>
      <dgm:t>
        <a:bodyPr/>
        <a:lstStyle/>
        <a:p>
          <a:endParaRPr lang="en-US"/>
        </a:p>
      </dgm:t>
    </dgm:pt>
    <dgm:pt modelId="{A45394D3-70AF-C84C-86C2-14E3CD07E290}" type="sibTrans" cxnId="{DD238F8C-01D5-3241-B821-FC71580B2F78}">
      <dgm:prSet/>
      <dgm:spPr/>
      <dgm:t>
        <a:bodyPr/>
        <a:lstStyle/>
        <a:p>
          <a:endParaRPr lang="en-US"/>
        </a:p>
      </dgm:t>
    </dgm:pt>
    <dgm:pt modelId="{D9559979-0B73-E640-90E8-C442F27E4284}">
      <dgm:prSet phldrT="[Text]" custT="1"/>
      <dgm:spPr/>
      <dgm:t>
        <a:bodyPr/>
        <a:lstStyle/>
        <a:p>
          <a:r>
            <a:rPr lang="en-US" sz="1400" dirty="0"/>
            <a:t>Maps to the current state and target state columns on the previous slide</a:t>
          </a:r>
        </a:p>
      </dgm:t>
    </dgm:pt>
    <dgm:pt modelId="{B8D5AC29-FC6A-B743-B6EF-798C17812C83}" type="parTrans" cxnId="{2F823051-3B38-024B-8320-EE4F3C1B0823}">
      <dgm:prSet/>
      <dgm:spPr/>
      <dgm:t>
        <a:bodyPr/>
        <a:lstStyle/>
        <a:p>
          <a:endParaRPr lang="en-US"/>
        </a:p>
      </dgm:t>
    </dgm:pt>
    <dgm:pt modelId="{0E886659-4D9F-D94F-AD11-82CB254D9D56}" type="sibTrans" cxnId="{2F823051-3B38-024B-8320-EE4F3C1B0823}">
      <dgm:prSet/>
      <dgm:spPr/>
      <dgm:t>
        <a:bodyPr/>
        <a:lstStyle/>
        <a:p>
          <a:endParaRPr lang="en-US"/>
        </a:p>
      </dgm:t>
    </dgm:pt>
    <dgm:pt modelId="{4DC0EBFF-FB11-7944-B7B9-BEDD77F14730}">
      <dgm:prSet phldrT="[Text]" custT="1"/>
      <dgm:spPr/>
      <dgm:t>
        <a:bodyPr/>
        <a:lstStyle/>
        <a:p>
          <a:r>
            <a:rPr lang="en-US" sz="1400" b="0" i="0" u="none" dirty="0"/>
            <a:t>Available actions to the next state</a:t>
          </a:r>
          <a:br>
            <a:rPr lang="en-US" sz="1400" b="0" i="0" u="none" dirty="0"/>
          </a:br>
          <a:endParaRPr lang="en-US" sz="1400" dirty="0"/>
        </a:p>
      </dgm:t>
    </dgm:pt>
    <dgm:pt modelId="{8EE52794-94D3-2848-863C-AE17D67CB247}" type="parTrans" cxnId="{910733E4-7DC3-AB45-BB60-EC5C5A340AA2}">
      <dgm:prSet/>
      <dgm:spPr/>
      <dgm:t>
        <a:bodyPr/>
        <a:lstStyle/>
        <a:p>
          <a:endParaRPr lang="en-US"/>
        </a:p>
      </dgm:t>
    </dgm:pt>
    <dgm:pt modelId="{22811381-C412-D048-8843-09483837A57F}" type="sibTrans" cxnId="{910733E4-7DC3-AB45-BB60-EC5C5A340AA2}">
      <dgm:prSet/>
      <dgm:spPr/>
      <dgm:t>
        <a:bodyPr/>
        <a:lstStyle/>
        <a:p>
          <a:endParaRPr lang="en-US"/>
        </a:p>
      </dgm:t>
    </dgm:pt>
    <dgm:pt modelId="{55772C64-5BD1-884E-8948-C8C5A62DC605}">
      <dgm:prSet phldrT="[Text]" custT="1"/>
      <dgm:spPr/>
      <dgm:t>
        <a:bodyPr/>
        <a:lstStyle/>
        <a:p>
          <a:r>
            <a:rPr lang="en-US" sz="1400" b="0" i="0" u="none" dirty="0"/>
            <a:t>One or more user roles may perform an action at each state, where an action may transition a state to another state in the workflow</a:t>
          </a:r>
          <a:endParaRPr lang="en-US" sz="1400" dirty="0"/>
        </a:p>
      </dgm:t>
    </dgm:pt>
    <dgm:pt modelId="{D6CB8975-DE2C-0C49-A83C-501FB5DCF132}" type="parTrans" cxnId="{3BDB6F51-50D3-9647-8E43-D5612CEE571E}">
      <dgm:prSet/>
      <dgm:spPr/>
      <dgm:t>
        <a:bodyPr/>
        <a:lstStyle/>
        <a:p>
          <a:endParaRPr lang="en-US"/>
        </a:p>
      </dgm:t>
    </dgm:pt>
    <dgm:pt modelId="{CDC13A5D-607C-9544-A548-798298B476AF}" type="sibTrans" cxnId="{3BDB6F51-50D3-9647-8E43-D5612CEE571E}">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B0D320FC-2E80-9243-9808-8FFF28CC6DAB}" type="pres">
      <dgm:prSet presAssocID="{72BFE7F6-A176-1B47-B070-566F06008D8C}" presName="composite" presStyleCnt="0"/>
      <dgm:spPr/>
    </dgm:pt>
    <dgm:pt modelId="{6C8C16B2-2954-C647-80EE-0BB68CE5C548}" type="pres">
      <dgm:prSet presAssocID="{72BFE7F6-A176-1B47-B070-566F06008D8C}" presName="parTx" presStyleLbl="alignNode1" presStyleIdx="0" presStyleCnt="6">
        <dgm:presLayoutVars>
          <dgm:chMax val="0"/>
          <dgm:chPref val="0"/>
          <dgm:bulletEnabled val="1"/>
        </dgm:presLayoutVars>
      </dgm:prSet>
      <dgm:spPr/>
    </dgm:pt>
    <dgm:pt modelId="{C2EE137D-227C-8B41-9CEF-F090A9F97D68}" type="pres">
      <dgm:prSet presAssocID="{72BFE7F6-A176-1B47-B070-566F06008D8C}" presName="desTx" presStyleLbl="alignAccFollowNode1" presStyleIdx="0" presStyleCnt="6">
        <dgm:presLayoutVars>
          <dgm:bulletEnabled val="1"/>
        </dgm:presLayoutVars>
      </dgm:prSet>
      <dgm:spPr/>
    </dgm:pt>
    <dgm:pt modelId="{A2464513-277E-0947-AAEF-04F6AE2F20A4}" type="pres">
      <dgm:prSet presAssocID="{AC214A4B-81DB-1847-BF7D-A045432B18AC}" presName="space" presStyleCnt="0"/>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1" presStyleCnt="6">
        <dgm:presLayoutVars>
          <dgm:chMax val="0"/>
          <dgm:chPref val="0"/>
          <dgm:bulletEnabled val="1"/>
        </dgm:presLayoutVars>
      </dgm:prSet>
      <dgm:spPr/>
    </dgm:pt>
    <dgm:pt modelId="{F4029437-CD94-9243-A4E6-230F610E13A7}" type="pres">
      <dgm:prSet presAssocID="{EF6F7FB3-D3E5-4548-BD1E-B72774CF5B92}" presName="desTx" presStyleLbl="alignAccFollowNode1" presStyleIdx="1" presStyleCnt="6">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2" presStyleCnt="6">
        <dgm:presLayoutVars>
          <dgm:chMax val="0"/>
          <dgm:chPref val="0"/>
          <dgm:bulletEnabled val="1"/>
        </dgm:presLayoutVars>
      </dgm:prSet>
      <dgm:spPr/>
    </dgm:pt>
    <dgm:pt modelId="{7186DE0A-A468-F844-8F3D-BC4EBCFEBA62}" type="pres">
      <dgm:prSet presAssocID="{2FB6C851-BFD2-3B40-A74C-E0990FBE416A}" presName="desTx" presStyleLbl="alignAccFollowNode1" presStyleIdx="2" presStyleCnt="6">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3" presStyleCnt="6">
        <dgm:presLayoutVars>
          <dgm:chMax val="0"/>
          <dgm:chPref val="0"/>
          <dgm:bulletEnabled val="1"/>
        </dgm:presLayoutVars>
      </dgm:prSet>
      <dgm:spPr/>
    </dgm:pt>
    <dgm:pt modelId="{2564D77F-41EC-7E4A-A245-9110782AA240}" type="pres">
      <dgm:prSet presAssocID="{EAA399BC-9721-B743-908A-4746BA10215A}" presName="desTx" presStyleLbl="alignAccFollowNode1" presStyleIdx="3" presStyleCnt="6">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4" presStyleCnt="6">
        <dgm:presLayoutVars>
          <dgm:chMax val="0"/>
          <dgm:chPref val="0"/>
          <dgm:bulletEnabled val="1"/>
        </dgm:presLayoutVars>
      </dgm:prSet>
      <dgm:spPr/>
    </dgm:pt>
    <dgm:pt modelId="{FDEEE735-727B-4C43-89AB-134B242C80FB}" type="pres">
      <dgm:prSet presAssocID="{4AC71D21-1492-3348-B7A6-5C2BCBD902D5}" presName="desTx" presStyleLbl="alignAccFollowNode1" presStyleIdx="4" presStyleCnt="6">
        <dgm:presLayoutVars>
          <dgm:bulletEnabled val="1"/>
        </dgm:presLayoutVars>
      </dgm:prSet>
      <dgm:spPr/>
    </dgm:pt>
    <dgm:pt modelId="{8CBF199C-592F-AD4C-BCD1-0F445E6DC00D}" type="pres">
      <dgm:prSet presAssocID="{EBA507D5-0C59-254B-A7F5-1D1427C5D840}" presName="space" presStyleCnt="0"/>
      <dgm:spPr/>
    </dgm:pt>
    <dgm:pt modelId="{24137B87-3789-D844-8C6A-C051303B27EA}" type="pres">
      <dgm:prSet presAssocID="{80FFFCBF-D80C-E747-9FB3-93483E5A3463}" presName="composite" presStyleCnt="0"/>
      <dgm:spPr/>
    </dgm:pt>
    <dgm:pt modelId="{95CEB0E8-8927-BF43-8014-0266F220DF5D}" type="pres">
      <dgm:prSet presAssocID="{80FFFCBF-D80C-E747-9FB3-93483E5A3463}" presName="parTx" presStyleLbl="alignNode1" presStyleIdx="5" presStyleCnt="6">
        <dgm:presLayoutVars>
          <dgm:chMax val="0"/>
          <dgm:chPref val="0"/>
          <dgm:bulletEnabled val="1"/>
        </dgm:presLayoutVars>
      </dgm:prSet>
      <dgm:spPr/>
    </dgm:pt>
    <dgm:pt modelId="{6CF2DC70-6E6F-0441-8D11-4FC560C5011F}" type="pres">
      <dgm:prSet presAssocID="{80FFFCBF-D80C-E747-9FB3-93483E5A3463}" presName="desTx" presStyleLbl="alignAccFollowNode1" presStyleIdx="5" presStyleCnt="6">
        <dgm:presLayoutVars>
          <dgm:bulletEnabled val="1"/>
        </dgm:presLayoutVars>
      </dgm:prSet>
      <dgm:spPr/>
    </dgm:pt>
  </dgm:ptLst>
  <dgm:cxnLst>
    <dgm:cxn modelId="{B832FA00-B44B-3547-806F-37DF15442267}" type="presOf" srcId="{74EEF99F-C04B-464D-AA6E-2ABE3105634C}" destId="{FDEEE735-727B-4C43-89AB-134B242C80FB}" srcOrd="0" destOrd="2"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27ED0F-9693-5541-A882-2F1BF1885277}" type="presOf" srcId="{2FB6C851-BFD2-3B40-A74C-E0990FBE416A}" destId="{8676B8BF-5D93-364A-B177-E7FD628083CA}" srcOrd="0" destOrd="0"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10A70716-29CE-FE44-BA03-48A47D324671}" srcId="{601D3C9A-68CD-1945-ADB7-DA2E05599C5A}" destId="{72BFE7F6-A176-1B47-B070-566F06008D8C}" srcOrd="0" destOrd="0" parTransId="{6296460E-5054-D444-AC51-E3DB89F21CCE}" sibTransId="{AC214A4B-81DB-1847-BF7D-A045432B18AC}"/>
    <dgm:cxn modelId="{12741625-C4BE-9146-AF75-0D64861D1EB2}" type="presOf" srcId="{3F6B1B6C-C2FD-1C47-8097-F4FA7254109B}" destId="{2564D77F-41EC-7E4A-A245-9110782AA240}" srcOrd="0" destOrd="1" presId="urn:microsoft.com/office/officeart/2005/8/layout/hList1"/>
    <dgm:cxn modelId="{214AEC25-2A3B-1A43-B0C9-5CECC3A466F0}" srcId="{601D3C9A-68CD-1945-ADB7-DA2E05599C5A}" destId="{EAA399BC-9721-B743-908A-4746BA10215A}" srcOrd="3" destOrd="0" parTransId="{9D19C632-3919-DE45-880A-E2AD016F0B25}" sibTransId="{68227547-BC39-C347-B8C5-E1BC84A76011}"/>
    <dgm:cxn modelId="{53EA6F34-717A-0C4E-8F53-E1DE64CD8FC2}" type="presOf" srcId="{EAA399BC-9721-B743-908A-4746BA10215A}" destId="{0F2E45FF-7FE9-FF49-8DB5-095D84C0F1B7}" srcOrd="0" destOrd="0" presId="urn:microsoft.com/office/officeart/2005/8/layout/hList1"/>
    <dgm:cxn modelId="{AC37683B-1BB7-9449-B703-7E5680EE93AA}" srcId="{72BFE7F6-A176-1B47-B070-566F06008D8C}" destId="{B0C1D075-519D-D541-B411-AA19E2440782}" srcOrd="2" destOrd="0" parTransId="{36D62F5A-F93E-114B-A35E-CBD70077A35D}" sibTransId="{028937EE-3E5F-3A42-B717-58AFEC735DDB}"/>
    <dgm:cxn modelId="{8E5F4E3B-55A3-1D4D-94BB-BDFBEEB5D40C}" type="presOf" srcId="{FDF5CD54-EA25-3942-956C-82E1908345B4}" destId="{2564D77F-41EC-7E4A-A245-9110782AA240}"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566BC760-462F-1347-8C8C-1F9352B5FAB0}" srcId="{2FB6C851-BFD2-3B40-A74C-E0990FBE416A}" destId="{0572007E-4073-C647-B20C-6FBBED67E818}" srcOrd="1" destOrd="0" parTransId="{3E7BD8DD-63F0-534F-AC45-93135C8340A4}" sibTransId="{0D4E0869-FC29-F242-BDBC-3E8F1DE89E82}"/>
    <dgm:cxn modelId="{1CBE6244-D81F-D245-A2B7-A95AC4FF71EE}" type="presOf" srcId="{4DC0EBFF-FB11-7944-B7B9-BEDD77F14730}" destId="{6CF2DC70-6E6F-0441-8D11-4FC560C5011F}" srcOrd="0" destOrd="0" presId="urn:microsoft.com/office/officeart/2005/8/layout/hList1"/>
    <dgm:cxn modelId="{99D95444-5B44-3347-8C58-07D0DA2919E5}" type="presOf" srcId="{2BDD560E-259A-1043-B69F-4E50683D23B4}" destId="{F4029437-CD94-9243-A4E6-230F610E13A7}" srcOrd="0" destOrd="1" presId="urn:microsoft.com/office/officeart/2005/8/layout/hList1"/>
    <dgm:cxn modelId="{9C486367-1AE4-0348-93C0-F1DCE69ED173}" type="presOf" srcId="{DE0F52DB-5EE7-FE40-BFD8-0B4D5601F323}" destId="{C2EE137D-227C-8B41-9CEF-F090A9F97D68}" srcOrd="0" destOrd="1" presId="urn:microsoft.com/office/officeart/2005/8/layout/hList1"/>
    <dgm:cxn modelId="{5E989A67-E22B-8543-81CD-2142806C5753}" srcId="{72BFE7F6-A176-1B47-B070-566F06008D8C}" destId="{DE0F52DB-5EE7-FE40-BFD8-0B4D5601F323}" srcOrd="1" destOrd="0" parTransId="{2EB32924-DDAF-1540-BDE0-E456B7A9442F}" sibTransId="{D6307B99-4333-AF4D-BE11-26DE0D3F51A9}"/>
    <dgm:cxn modelId="{F6B7C667-F7D9-AE4C-B15E-F158C7A45FAF}" srcId="{EF6F7FB3-D3E5-4548-BD1E-B72774CF5B92}" destId="{61897AD0-23B2-154C-86D2-E400A5896A0E}" srcOrd="0" destOrd="0" parTransId="{2AFF3A5B-30E9-BF44-86B7-A93B6D95B237}" sibTransId="{EE034AE8-6B16-2D49-88B4-99C48610820A}"/>
    <dgm:cxn modelId="{769C4B4E-24E4-9F41-9608-FE4526AD66F9}" type="presOf" srcId="{3449CA0B-085B-7749-B88D-B2F1CBAE4B99}" destId="{FDEEE735-727B-4C43-89AB-134B242C80FB}" srcOrd="0" destOrd="0" presId="urn:microsoft.com/office/officeart/2005/8/layout/hList1"/>
    <dgm:cxn modelId="{2F823051-3B38-024B-8320-EE4F3C1B0823}" srcId="{4AC71D21-1492-3348-B7A6-5C2BCBD902D5}" destId="{D9559979-0B73-E640-90E8-C442F27E4284}" srcOrd="1" destOrd="0" parTransId="{B8D5AC29-FC6A-B743-B6EF-798C17812C83}" sibTransId="{0E886659-4D9F-D94F-AD11-82CB254D9D56}"/>
    <dgm:cxn modelId="{3BDB6F51-50D3-9647-8E43-D5612CEE571E}" srcId="{80FFFCBF-D80C-E747-9FB3-93483E5A3463}" destId="{55772C64-5BD1-884E-8948-C8C5A62DC605}" srcOrd="1" destOrd="0" parTransId="{D6CB8975-DE2C-0C49-A83C-501FB5DCF132}" sibTransId="{CDC13A5D-607C-9544-A548-798298B476AF}"/>
    <dgm:cxn modelId="{BE905F82-9FCC-004A-A0F6-A9FF26C784DD}" srcId="{EAA399BC-9721-B743-908A-4746BA10215A}" destId="{3F6B1B6C-C2FD-1C47-8097-F4FA7254109B}" srcOrd="1" destOrd="0" parTransId="{813B38D7-AB05-6B4C-8AF3-3347A563928B}" sibTransId="{AE024315-D86F-F54A-AE4D-969E581EC9AB}"/>
    <dgm:cxn modelId="{8939B885-AA08-CC44-98A9-F0D04D593118}" srcId="{EF6F7FB3-D3E5-4548-BD1E-B72774CF5B92}" destId="{2BDD560E-259A-1043-B69F-4E50683D23B4}" srcOrd="1" destOrd="0" parTransId="{AB896C38-77DF-EA4F-951C-9C08278E7A6C}" sibTransId="{F35080B0-4799-6B46-9CCD-695C96AA4106}"/>
    <dgm:cxn modelId="{8C386387-C1D4-1D4F-89C6-8384CD3BA9E1}" type="presOf" srcId="{7F9CA40A-FB21-EB4C-90CE-2B1CFA54D562}" destId="{7186DE0A-A468-F844-8F3D-BC4EBCFEBA62}" srcOrd="0" destOrd="0" presId="urn:microsoft.com/office/officeart/2005/8/layout/hList1"/>
    <dgm:cxn modelId="{5F32F18B-5F24-484F-8086-41258263B521}" srcId="{72BFE7F6-A176-1B47-B070-566F06008D8C}" destId="{77CE68CE-4744-1E48-9CD9-6762BE8CF3E5}" srcOrd="0" destOrd="0" parTransId="{5A2A8D0B-AF86-4B47-BA2A-4A9FCA5112F5}" sibTransId="{B4FF8DBE-ED9B-314D-A9D4-F739EBDA79FA}"/>
    <dgm:cxn modelId="{DD238F8C-01D5-3241-B821-FC71580B2F78}" srcId="{EAA399BC-9721-B743-908A-4746BA10215A}" destId="{419EBB9F-C03F-A740-AC96-D56E80F9FA41}" srcOrd="2" destOrd="0" parTransId="{0505B23F-4979-4A46-B41F-1BB468E4A874}" sibTransId="{A45394D3-70AF-C84C-86C2-14E3CD07E290}"/>
    <dgm:cxn modelId="{77FFF58D-858B-0547-BAD1-616902D27719}" srcId="{4AC71D21-1492-3348-B7A6-5C2BCBD902D5}" destId="{74EEF99F-C04B-464D-AA6E-2ABE3105634C}" srcOrd="2" destOrd="0" parTransId="{68EFC4DF-08A0-FF4E-B77B-D8305E73CB60}" sibTransId="{AB0610CE-253F-7B4E-AF5B-51EFA1DA3176}"/>
    <dgm:cxn modelId="{3DBAD693-BC74-6743-87FB-1D5EF5A6893F}" type="presOf" srcId="{B0C1D075-519D-D541-B411-AA19E2440782}" destId="{C2EE137D-227C-8B41-9CEF-F090A9F97D68}" srcOrd="0" destOrd="2" presId="urn:microsoft.com/office/officeart/2005/8/layout/hList1"/>
    <dgm:cxn modelId="{3626C794-6EC5-E049-BA04-83A85EFD6422}" srcId="{72BFE7F6-A176-1B47-B070-566F06008D8C}" destId="{977BF214-530D-E541-B1C2-2A1FBB2286CD}" srcOrd="3" destOrd="0" parTransId="{256354CA-5B13-944D-9191-EC46D2346C65}" sibTransId="{9E0DD595-6F2F-6341-B7B8-41C7CD55033C}"/>
    <dgm:cxn modelId="{3A050897-5ABB-B34D-B5AC-89D2FF4951A1}" type="presOf" srcId="{D9559979-0B73-E640-90E8-C442F27E4284}" destId="{FDEEE735-727B-4C43-89AB-134B242C80FB}" srcOrd="0" destOrd="1" presId="urn:microsoft.com/office/officeart/2005/8/layout/hList1"/>
    <dgm:cxn modelId="{814C29A0-6C09-4747-8685-2C1D24305930}" type="presOf" srcId="{72BFE7F6-A176-1B47-B070-566F06008D8C}" destId="{6C8C16B2-2954-C647-80EE-0BB68CE5C548}" srcOrd="0" destOrd="0" presId="urn:microsoft.com/office/officeart/2005/8/layout/hList1"/>
    <dgm:cxn modelId="{4E5E23AE-F847-F245-B4D9-A1C962CFFF26}" srcId="{601D3C9A-68CD-1945-ADB7-DA2E05599C5A}" destId="{2FB6C851-BFD2-3B40-A74C-E0990FBE416A}" srcOrd="2" destOrd="0" parTransId="{69ED7902-97D8-9649-A75F-28025A394F19}" sibTransId="{D8C50E35-3552-B448-B86F-D91AA94E1D78}"/>
    <dgm:cxn modelId="{45EA61AF-A35A-2940-92CD-23E49862A05D}" type="presOf" srcId="{EF6F7FB3-D3E5-4548-BD1E-B72774CF5B92}" destId="{F559DA8F-9B70-E042-87E3-BAA2CDF72A58}" srcOrd="0" destOrd="0" presId="urn:microsoft.com/office/officeart/2005/8/layout/hList1"/>
    <dgm:cxn modelId="{83CB9CB0-E72E-874D-9CBA-3C6EAC870F73}" type="presOf" srcId="{0572007E-4073-C647-B20C-6FBBED67E818}" destId="{7186DE0A-A468-F844-8F3D-BC4EBCFEBA62}" srcOrd="0" destOrd="1" presId="urn:microsoft.com/office/officeart/2005/8/layout/hList1"/>
    <dgm:cxn modelId="{DE3174B8-B8B2-AC48-9AB4-80E8937DFB44}" type="presOf" srcId="{61897AD0-23B2-154C-86D2-E400A5896A0E}" destId="{F4029437-CD94-9243-A4E6-230F610E13A7}" srcOrd="0" destOrd="0" presId="urn:microsoft.com/office/officeart/2005/8/layout/hList1"/>
    <dgm:cxn modelId="{789668BE-3D51-284E-9247-5641DB654EEC}" type="presOf" srcId="{55772C64-5BD1-884E-8948-C8C5A62DC605}" destId="{6CF2DC70-6E6F-0441-8D11-4FC560C5011F}" srcOrd="0" destOrd="1" presId="urn:microsoft.com/office/officeart/2005/8/layout/hList1"/>
    <dgm:cxn modelId="{C926C7C9-D26C-EB45-8190-82A256F827A2}" srcId="{601D3C9A-68CD-1945-ADB7-DA2E05599C5A}" destId="{EF6F7FB3-D3E5-4548-BD1E-B72774CF5B92}" srcOrd="1" destOrd="0" parTransId="{45730361-F738-1D4E-A3C5-411A94807EC9}" sibTransId="{3EE142BA-28AD-B148-A13A-EC6787931D89}"/>
    <dgm:cxn modelId="{D73A96D0-6EDE-6A41-9045-29B881487519}" type="presOf" srcId="{419EBB9F-C03F-A740-AC96-D56E80F9FA41}" destId="{2564D77F-41EC-7E4A-A245-9110782AA240}" srcOrd="0" destOrd="2" presId="urn:microsoft.com/office/officeart/2005/8/layout/hList1"/>
    <dgm:cxn modelId="{E526FCD6-C884-6845-85BA-6FBF5C07571C}" type="presOf" srcId="{80FFFCBF-D80C-E747-9FB3-93483E5A3463}" destId="{95CEB0E8-8927-BF43-8014-0266F220DF5D}" srcOrd="0" destOrd="0" presId="urn:microsoft.com/office/officeart/2005/8/layout/hList1"/>
    <dgm:cxn modelId="{FEA611DE-5FEF-F141-A4F0-BDDD9957A3E2}" type="presOf" srcId="{4AC71D21-1492-3348-B7A6-5C2BCBD902D5}" destId="{0E32FB3D-56EA-B24A-9E94-469C9E603473}" srcOrd="0" destOrd="0" presId="urn:microsoft.com/office/officeart/2005/8/layout/hList1"/>
    <dgm:cxn modelId="{8AB1B6DF-A149-EB42-A297-A938F4969B7A}" type="presOf" srcId="{77CE68CE-4744-1E48-9CD9-6762BE8CF3E5}" destId="{C2EE137D-227C-8B41-9CEF-F090A9F97D68}" srcOrd="0" destOrd="0" presId="urn:microsoft.com/office/officeart/2005/8/layout/hList1"/>
    <dgm:cxn modelId="{0A96F4E2-0820-604D-8661-78D462D50E4B}" type="presOf" srcId="{977BF214-530D-E541-B1C2-2A1FBB2286CD}" destId="{C2EE137D-227C-8B41-9CEF-F090A9F97D68}" srcOrd="0" destOrd="3" presId="urn:microsoft.com/office/officeart/2005/8/layout/hList1"/>
    <dgm:cxn modelId="{E8F1C6E3-BD50-2E47-B102-7401C727B357}" srcId="{601D3C9A-68CD-1945-ADB7-DA2E05599C5A}" destId="{4AC71D21-1492-3348-B7A6-5C2BCBD902D5}" srcOrd="4" destOrd="0" parTransId="{9402E8AD-84FA-DD4F-859F-CDEB1436E7F3}" sibTransId="{EBA507D5-0C59-254B-A7F5-1D1427C5D840}"/>
    <dgm:cxn modelId="{910733E4-7DC3-AB45-BB60-EC5C5A340AA2}" srcId="{80FFFCBF-D80C-E747-9FB3-93483E5A3463}" destId="{4DC0EBFF-FB11-7944-B7B9-BEDD77F14730}" srcOrd="0" destOrd="0" parTransId="{8EE52794-94D3-2848-863C-AE17D67CB247}" sibTransId="{22811381-C412-D048-8843-09483837A57F}"/>
    <dgm:cxn modelId="{D1CA85E7-3137-7F44-8F2A-D0E48A007E49}" type="presOf" srcId="{43F2E7D0-3E74-B845-BE41-42DB0FACEA8B}" destId="{C2EE137D-227C-8B41-9CEF-F090A9F97D68}" srcOrd="0" destOrd="4" presId="urn:microsoft.com/office/officeart/2005/8/layout/hList1"/>
    <dgm:cxn modelId="{D39492EB-3035-754B-8D64-1AE51287BD5E}" srcId="{601D3C9A-68CD-1945-ADB7-DA2E05599C5A}" destId="{80FFFCBF-D80C-E747-9FB3-93483E5A3463}" srcOrd="5" destOrd="0" parTransId="{FA0FC2D7-8BF9-8640-90C1-8FE764979180}" sibTransId="{B631F706-114F-6B4B-B377-0D22CADAC5BE}"/>
    <dgm:cxn modelId="{7A7808F7-036D-E14B-BF51-437DF1337C4F}" srcId="{72BFE7F6-A176-1B47-B070-566F06008D8C}" destId="{43F2E7D0-3E74-B845-BE41-42DB0FACEA8B}" srcOrd="4" destOrd="0" parTransId="{675EC152-EC54-6743-92F6-22A4CD25A76D}" sibTransId="{DCF8342D-5DEC-5B46-9FB0-F38922BDD4C8}"/>
    <dgm:cxn modelId="{26F15B3B-6FA4-DF42-8BEB-8F2844D9AA6B}" type="presParOf" srcId="{A0ED3AAA-DC34-4245-958B-1C17AB663406}" destId="{B0D320FC-2E80-9243-9808-8FFF28CC6DAB}" srcOrd="0" destOrd="0" presId="urn:microsoft.com/office/officeart/2005/8/layout/hList1"/>
    <dgm:cxn modelId="{7D23E1E9-4379-A145-9BAA-ADD3237ABA4E}" type="presParOf" srcId="{B0D320FC-2E80-9243-9808-8FFF28CC6DAB}" destId="{6C8C16B2-2954-C647-80EE-0BB68CE5C548}" srcOrd="0" destOrd="0" presId="urn:microsoft.com/office/officeart/2005/8/layout/hList1"/>
    <dgm:cxn modelId="{742CCAC1-1E6F-BE4E-BFFF-E21039508625}" type="presParOf" srcId="{B0D320FC-2E80-9243-9808-8FFF28CC6DAB}" destId="{C2EE137D-227C-8B41-9CEF-F090A9F97D68}" srcOrd="1" destOrd="0" presId="urn:microsoft.com/office/officeart/2005/8/layout/hList1"/>
    <dgm:cxn modelId="{2CDD8F12-BFEF-5C44-A282-5AB84183E091}" type="presParOf" srcId="{A0ED3AAA-DC34-4245-958B-1C17AB663406}" destId="{A2464513-277E-0947-AAEF-04F6AE2F20A4}" srcOrd="1" destOrd="0" presId="urn:microsoft.com/office/officeart/2005/8/layout/hList1"/>
    <dgm:cxn modelId="{27DB31B9-E2CC-F444-9FEA-5C0A00D6CE2E}" type="presParOf" srcId="{A0ED3AAA-DC34-4245-958B-1C17AB663406}" destId="{69D527AC-4091-1346-A593-21DCC20F4CD2}" srcOrd="2" destOrd="0" presId="urn:microsoft.com/office/officeart/2005/8/layout/hList1"/>
    <dgm:cxn modelId="{D644F67B-A30C-DA44-AE4E-0828F2793C72}" type="presParOf" srcId="{69D527AC-4091-1346-A593-21DCC20F4CD2}" destId="{F559DA8F-9B70-E042-87E3-BAA2CDF72A58}" srcOrd="0" destOrd="0" presId="urn:microsoft.com/office/officeart/2005/8/layout/hList1"/>
    <dgm:cxn modelId="{5C71BC52-BA5A-F447-A1FB-54F97D8A1471}" type="presParOf" srcId="{69D527AC-4091-1346-A593-21DCC20F4CD2}" destId="{F4029437-CD94-9243-A4E6-230F610E13A7}" srcOrd="1" destOrd="0" presId="urn:microsoft.com/office/officeart/2005/8/layout/hList1"/>
    <dgm:cxn modelId="{A38255A0-0F21-9B4E-A4BA-68EBFB8AE28D}" type="presParOf" srcId="{A0ED3AAA-DC34-4245-958B-1C17AB663406}" destId="{11938A7F-2459-F64D-895E-B6AD2A84019D}" srcOrd="3" destOrd="0" presId="urn:microsoft.com/office/officeart/2005/8/layout/hList1"/>
    <dgm:cxn modelId="{0D6E30A7-A566-9B41-9191-83E96569B5FB}" type="presParOf" srcId="{A0ED3AAA-DC34-4245-958B-1C17AB663406}" destId="{2951423E-C911-9B43-ADFF-461A2AFE3377}" srcOrd="4" destOrd="0" presId="urn:microsoft.com/office/officeart/2005/8/layout/hList1"/>
    <dgm:cxn modelId="{8844B4FD-8CC7-CB45-AD43-816E68850364}" type="presParOf" srcId="{2951423E-C911-9B43-ADFF-461A2AFE3377}" destId="{8676B8BF-5D93-364A-B177-E7FD628083CA}" srcOrd="0" destOrd="0" presId="urn:microsoft.com/office/officeart/2005/8/layout/hList1"/>
    <dgm:cxn modelId="{A22EC359-DDC2-6547-9D3A-1D94DC626AC9}" type="presParOf" srcId="{2951423E-C911-9B43-ADFF-461A2AFE3377}" destId="{7186DE0A-A468-F844-8F3D-BC4EBCFEBA62}" srcOrd="1" destOrd="0" presId="urn:microsoft.com/office/officeart/2005/8/layout/hList1"/>
    <dgm:cxn modelId="{41C1E68A-4728-B048-AB05-753CB671C52A}" type="presParOf" srcId="{A0ED3AAA-DC34-4245-958B-1C17AB663406}" destId="{3AC3ACB8-807E-604C-8E3A-3CD69377C72A}" srcOrd="5" destOrd="0" presId="urn:microsoft.com/office/officeart/2005/8/layout/hList1"/>
    <dgm:cxn modelId="{FC26FC8D-D2E7-FB4A-B6FA-9418DECC2EB2}" type="presParOf" srcId="{A0ED3AAA-DC34-4245-958B-1C17AB663406}" destId="{95B24CD4-4F2F-AE4E-BB09-A3D301E9DD1F}" srcOrd="6" destOrd="0" presId="urn:microsoft.com/office/officeart/2005/8/layout/hList1"/>
    <dgm:cxn modelId="{13F8A35A-7E6A-6D49-97F5-744634F510F0}" type="presParOf" srcId="{95B24CD4-4F2F-AE4E-BB09-A3D301E9DD1F}" destId="{0F2E45FF-7FE9-FF49-8DB5-095D84C0F1B7}" srcOrd="0" destOrd="0" presId="urn:microsoft.com/office/officeart/2005/8/layout/hList1"/>
    <dgm:cxn modelId="{98DF372C-0A25-C44B-80F4-801DCA4A3277}" type="presParOf" srcId="{95B24CD4-4F2F-AE4E-BB09-A3D301E9DD1F}" destId="{2564D77F-41EC-7E4A-A245-9110782AA240}" srcOrd="1" destOrd="0" presId="urn:microsoft.com/office/officeart/2005/8/layout/hList1"/>
    <dgm:cxn modelId="{7EC1BE33-09DC-C644-B9DE-3476C2193269}" type="presParOf" srcId="{A0ED3AAA-DC34-4245-958B-1C17AB663406}" destId="{9C501F13-EA3C-4147-AD30-2F4EFBDDBF6D}" srcOrd="7" destOrd="0" presId="urn:microsoft.com/office/officeart/2005/8/layout/hList1"/>
    <dgm:cxn modelId="{4E3CE64F-8BC8-EA4D-81CC-1AEA6FBFFEE1}" type="presParOf" srcId="{A0ED3AAA-DC34-4245-958B-1C17AB663406}" destId="{327C4128-FFE2-EA43-9A30-3D5C39C803F1}" srcOrd="8" destOrd="0" presId="urn:microsoft.com/office/officeart/2005/8/layout/hList1"/>
    <dgm:cxn modelId="{EAD872FA-5FFB-3847-B6EB-F658707A1371}" type="presParOf" srcId="{327C4128-FFE2-EA43-9A30-3D5C39C803F1}" destId="{0E32FB3D-56EA-B24A-9E94-469C9E603473}" srcOrd="0" destOrd="0" presId="urn:microsoft.com/office/officeart/2005/8/layout/hList1"/>
    <dgm:cxn modelId="{BDD25EB3-A986-2146-A8BF-C0D00B80200F}" type="presParOf" srcId="{327C4128-FFE2-EA43-9A30-3D5C39C803F1}" destId="{FDEEE735-727B-4C43-89AB-134B242C80FB}" srcOrd="1" destOrd="0" presId="urn:microsoft.com/office/officeart/2005/8/layout/hList1"/>
    <dgm:cxn modelId="{13CE9D1E-DFCC-0449-B3BF-7114872462E2}" type="presParOf" srcId="{A0ED3AAA-DC34-4245-958B-1C17AB663406}" destId="{8CBF199C-592F-AD4C-BCD1-0F445E6DC00D}" srcOrd="9" destOrd="0" presId="urn:microsoft.com/office/officeart/2005/8/layout/hList1"/>
    <dgm:cxn modelId="{EEDFA957-DC95-2A4E-8B33-3670A0AE773B}" type="presParOf" srcId="{A0ED3AAA-DC34-4245-958B-1C17AB663406}" destId="{24137B87-3789-D844-8C6A-C051303B27EA}" srcOrd="10" destOrd="0" presId="urn:microsoft.com/office/officeart/2005/8/layout/hList1"/>
    <dgm:cxn modelId="{A9BE80EE-DC26-DC4A-80FF-3EC7ACE6B478}" type="presParOf" srcId="{24137B87-3789-D844-8C6A-C051303B27EA}" destId="{95CEB0E8-8927-BF43-8014-0266F220DF5D}" srcOrd="0" destOrd="0" presId="urn:microsoft.com/office/officeart/2005/8/layout/hList1"/>
    <dgm:cxn modelId="{D449B303-3668-B94D-81FD-358B074D11F1}" type="presParOf" srcId="{24137B87-3789-D844-8C6A-C051303B27EA}" destId="{6CF2DC70-6E6F-0441-8D11-4FC560C5011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1B5B7AFB-57D0-C24C-A786-43096A5AC225}">
      <dgm:prSet phldrT="[Text]" custT="1"/>
      <dgm:spPr/>
      <dgm:t>
        <a:bodyPr/>
        <a:lstStyle/>
        <a:p>
          <a:r>
            <a:rPr lang="en-US" sz="1200" b="0" i="0" u="none" dirty="0"/>
            <a:t>The number, order, and type of parameters must match in both files. </a:t>
          </a:r>
          <a:endParaRPr lang="en-US" sz="1200" dirty="0"/>
        </a:p>
      </dgm:t>
    </dgm:pt>
    <dgm:pt modelId="{32186EC6-F23F-5E4C-B07A-FA236FDEBBB8}" type="parTrans" cxnId="{8634D0B5-E374-B24C-84F7-AA700BBFCA41}">
      <dgm:prSet/>
      <dgm:spPr/>
      <dgm:t>
        <a:bodyPr/>
        <a:lstStyle/>
        <a:p>
          <a:endParaRPr lang="en-US"/>
        </a:p>
      </dgm:t>
    </dgm:pt>
    <dgm:pt modelId="{5440F09A-A7D1-C148-BC9C-43BB1414766E}" type="sibTrans" cxnId="{8634D0B5-E374-B24C-84F7-AA700BBFCA41}">
      <dgm:prSet/>
      <dgm:spPr/>
      <dgm:t>
        <a:bodyPr/>
        <a:lstStyle/>
        <a:p>
          <a:endParaRPr lang="en-US"/>
        </a:p>
      </dgm:t>
    </dgm:pt>
    <dgm:pt modelId="{EF6F7FB3-D3E5-4548-BD1E-B72774CF5B92}">
      <dgm:prSet phldrT="[Text]"/>
      <dgm:spPr/>
      <dgm:t>
        <a:bodyPr/>
        <a:lstStyle/>
        <a:p>
          <a:r>
            <a:rPr lang="en-US" dirty="0"/>
            <a:t>Contract</a:t>
          </a:r>
        </a:p>
      </dgm:t>
    </dgm:pt>
    <dgm:pt modelId="{45730361-F738-1D4E-A3C5-411A94807EC9}" type="parTrans" cxnId="{E911279A-9906-4198-B6D2-AA93DF303D9E}">
      <dgm:prSet/>
      <dgm:spPr/>
      <dgm:t>
        <a:bodyPr/>
        <a:lstStyle/>
        <a:p>
          <a:endParaRPr lang="en-US"/>
        </a:p>
      </dgm:t>
    </dgm:pt>
    <dgm:pt modelId="{3EE142BA-28AD-B148-A13A-EC6787931D89}" type="sibTrans" cxnId="{E911279A-9906-4198-B6D2-AA93DF303D9E}">
      <dgm:prSet/>
      <dgm:spPr/>
      <dgm:t>
        <a:bodyPr/>
        <a:lstStyle/>
        <a:p>
          <a:endParaRPr lang="en-US"/>
        </a:p>
      </dgm:t>
    </dgm:pt>
    <dgm:pt modelId="{00915C91-2BAC-CB44-9FA5-FC2883C261E5}">
      <dgm:prSet custT="1"/>
      <dgm:spPr/>
      <dgm:t>
        <a:bodyPr/>
        <a:lstStyle/>
        <a:p>
          <a:r>
            <a:rPr lang="en-US" sz="1200" dirty="0"/>
            <a:t>Pass the application name and the workflow name as arguments</a:t>
          </a:r>
        </a:p>
      </dgm:t>
    </dgm:pt>
    <dgm:pt modelId="{3659585A-5D96-424C-8A2E-8A3687C2367C}" type="parTrans" cxnId="{B6D8BAE8-FF5F-47B8-9570-4CBAC22C1694}">
      <dgm:prSet/>
      <dgm:spPr/>
      <dgm:t>
        <a:bodyPr/>
        <a:lstStyle/>
        <a:p>
          <a:endParaRPr lang="en-US"/>
        </a:p>
      </dgm:t>
    </dgm:pt>
    <dgm:pt modelId="{2270BCC6-9E2B-4C4C-BCD4-A223C629D2A8}" type="sibTrans" cxnId="{B6D8BAE8-FF5F-47B8-9570-4CBAC22C1694}">
      <dgm:prSet/>
      <dgm:spPr/>
      <dgm:t>
        <a:bodyPr/>
        <a:lstStyle/>
        <a:p>
          <a:endParaRPr lang="en-US"/>
        </a:p>
      </dgm:t>
    </dgm:pt>
    <dgm:pt modelId="{EE74E1FD-36DB-DD46-BF13-76B65F0AC30D}">
      <dgm:prSet custT="1"/>
      <dgm:spPr/>
      <dgm:t>
        <a:bodyPr/>
        <a:lstStyle/>
        <a:p>
          <a:endParaRPr lang="en-US" sz="1200" dirty="0"/>
        </a:p>
      </dgm:t>
    </dgm:pt>
    <dgm:pt modelId="{281854AB-1940-9640-91D9-010541892070}" type="parTrans" cxnId="{3964E694-E239-4D06-B33B-9AB4C0BF4AEB}">
      <dgm:prSet/>
      <dgm:spPr/>
      <dgm:t>
        <a:bodyPr/>
        <a:lstStyle/>
        <a:p>
          <a:endParaRPr lang="en-US"/>
        </a:p>
      </dgm:t>
    </dgm:pt>
    <dgm:pt modelId="{F5279980-9FF2-C045-884E-BE776457C196}" type="sibTrans" cxnId="{3964E694-E239-4D06-B33B-9AB4C0BF4AEB}">
      <dgm:prSet/>
      <dgm:spPr/>
      <dgm:t>
        <a:bodyPr/>
        <a:lstStyle/>
        <a:p>
          <a:endParaRPr lang="en-US"/>
        </a:p>
      </dgm:t>
    </dgm:pt>
    <dgm:pt modelId="{6117F474-1AD4-E141-93EE-43518BA761D0}">
      <dgm:prSet custT="1"/>
      <dgm:spPr/>
      <dgm:t>
        <a:bodyPr/>
        <a:lstStyle/>
        <a:p>
          <a:r>
            <a:rPr lang="en-US" sz="1200" dirty="0"/>
            <a:t>1:1 relationship between contracts and config files </a:t>
          </a:r>
        </a:p>
      </dgm:t>
    </dgm:pt>
    <dgm:pt modelId="{154DB7A4-8083-F649-91AF-57B30B11431B}" type="parTrans" cxnId="{7D341069-F728-421F-ADCB-EC2C17F47AD9}">
      <dgm:prSet/>
      <dgm:spPr/>
      <dgm:t>
        <a:bodyPr/>
        <a:lstStyle/>
        <a:p>
          <a:endParaRPr lang="en-US"/>
        </a:p>
      </dgm:t>
    </dgm:pt>
    <dgm:pt modelId="{53EB06E2-B7B4-B24B-8369-1DCCB801E6BD}" type="sibTrans" cxnId="{7D341069-F728-421F-ADCB-EC2C17F47AD9}">
      <dgm:prSet/>
      <dgm:spPr/>
      <dgm:t>
        <a:bodyPr/>
        <a:lstStyle/>
        <a:p>
          <a:endParaRPr lang="en-US"/>
        </a:p>
      </dgm:t>
    </dgm:pt>
    <dgm:pt modelId="{E307C5A6-904E-1343-979E-725A9F8FF469}">
      <dgm:prSet custT="1"/>
      <dgm:spPr/>
      <dgm:t>
        <a:bodyPr/>
        <a:lstStyle/>
        <a:p>
          <a:endParaRPr lang="en-US" sz="1200" dirty="0"/>
        </a:p>
      </dgm:t>
    </dgm:pt>
    <dgm:pt modelId="{E69A362D-31C4-5643-9D0E-649F4C0B00CF}" type="parTrans" cxnId="{132D4199-0DE0-43F7-A8BE-B628780E5A42}">
      <dgm:prSet/>
      <dgm:spPr/>
      <dgm:t>
        <a:bodyPr/>
        <a:lstStyle/>
        <a:p>
          <a:endParaRPr lang="en-US"/>
        </a:p>
      </dgm:t>
    </dgm:pt>
    <dgm:pt modelId="{44B053BC-D2FA-7741-B6F2-E2D2781B7CC5}" type="sibTrans" cxnId="{132D4199-0DE0-43F7-A8BE-B628780E5A42}">
      <dgm:prSet/>
      <dgm:spPr/>
      <dgm:t>
        <a:bodyPr/>
        <a:lstStyle/>
        <a:p>
          <a:endParaRPr lang="en-US"/>
        </a:p>
      </dgm:t>
    </dgm:pt>
    <dgm:pt modelId="{0B5810C7-3373-0940-9DA0-77F9BAD20039}">
      <dgm:prSet custT="1"/>
      <dgm:spPr/>
      <dgm:t>
        <a:bodyPr/>
        <a:lstStyle/>
        <a:p>
          <a:r>
            <a:rPr lang="en-US" sz="1200" dirty="0"/>
            <a:t>Name matching required</a:t>
          </a:r>
        </a:p>
      </dgm:t>
    </dgm:pt>
    <dgm:pt modelId="{1074E96E-3C25-BF41-BE46-317BB44DD0E1}" type="parTrans" cxnId="{120F3A93-1EAC-49C6-B3BD-DC779026E2A1}">
      <dgm:prSet/>
      <dgm:spPr/>
      <dgm:t>
        <a:bodyPr/>
        <a:lstStyle/>
        <a:p>
          <a:endParaRPr lang="en-US"/>
        </a:p>
      </dgm:t>
    </dgm:pt>
    <dgm:pt modelId="{E977F061-804B-5244-A884-6E2795799812}" type="sibTrans" cxnId="{120F3A93-1EAC-49C6-B3BD-DC779026E2A1}">
      <dgm:prSet/>
      <dgm:spPr/>
      <dgm:t>
        <a:bodyPr/>
        <a:lstStyle/>
        <a:p>
          <a:endParaRPr lang="en-US"/>
        </a:p>
      </dgm:t>
    </dgm:pt>
    <dgm:pt modelId="{CECDF376-691C-C44B-B0DD-0F70BA2E24CB}">
      <dgm:prSet custT="1"/>
      <dgm:spPr/>
      <dgm:t>
        <a:bodyPr/>
        <a:lstStyle/>
        <a:p>
          <a:endParaRPr lang="en-US" sz="1400" dirty="0"/>
        </a:p>
      </dgm:t>
    </dgm:pt>
    <dgm:pt modelId="{CE7163BD-01C1-9A4E-B5E0-B56A9F744374}" type="parTrans" cxnId="{D0399F5D-2F34-437A-A81F-0A125CA5F925}">
      <dgm:prSet/>
      <dgm:spPr/>
      <dgm:t>
        <a:bodyPr/>
        <a:lstStyle/>
        <a:p>
          <a:endParaRPr lang="en-US"/>
        </a:p>
      </dgm:t>
    </dgm:pt>
    <dgm:pt modelId="{8E30113C-80AA-8645-A0A3-DB636CFE456E}" type="sibTrans" cxnId="{D0399F5D-2F34-437A-A81F-0A125CA5F925}">
      <dgm:prSet/>
      <dgm:spPr/>
      <dgm:t>
        <a:bodyPr/>
        <a:lstStyle/>
        <a:p>
          <a:endParaRPr lang="en-US"/>
        </a:p>
      </dgm:t>
    </dgm:pt>
    <dgm:pt modelId="{B91B23CD-F7DF-CF4C-AA96-C5AE11072FEB}">
      <dgm:prSet custT="1"/>
      <dgm:spPr/>
      <dgm:t>
        <a:bodyPr/>
        <a:lstStyle/>
        <a:p>
          <a:endParaRPr lang="en-US" sz="1400" dirty="0"/>
        </a:p>
      </dgm:t>
    </dgm:pt>
    <dgm:pt modelId="{47E11246-F866-CA4C-81FD-1C2892219D62}" type="parTrans" cxnId="{D389084E-6796-4734-940D-BA8ABAD6DDAF}">
      <dgm:prSet/>
      <dgm:spPr/>
      <dgm:t>
        <a:bodyPr/>
        <a:lstStyle/>
        <a:p>
          <a:endParaRPr lang="en-US"/>
        </a:p>
      </dgm:t>
    </dgm:pt>
    <dgm:pt modelId="{E794840E-11F5-7446-B800-5B716BED825D}" type="sibTrans" cxnId="{D389084E-6796-4734-940D-BA8ABAD6DDAF}">
      <dgm:prSet/>
      <dgm:spPr/>
      <dgm:t>
        <a:bodyPr/>
        <a:lstStyle/>
        <a:p>
          <a:endParaRPr lang="en-US"/>
        </a:p>
      </dgm:t>
    </dgm:pt>
    <dgm:pt modelId="{2FB6C851-BFD2-3B40-A74C-E0990FBE416A}">
      <dgm:prSet phldrT="[Text]"/>
      <dgm:spPr/>
      <dgm:t>
        <a:bodyPr/>
        <a:lstStyle/>
        <a:p>
          <a:r>
            <a:rPr lang="en-US" dirty="0"/>
            <a:t>State Variables</a:t>
          </a:r>
        </a:p>
      </dgm:t>
    </dgm:pt>
    <dgm:pt modelId="{69ED7902-97D8-9649-A75F-28025A394F19}" type="parTrans" cxnId="{A12CCD91-69DF-4DF3-AF8C-5E575A3DB190}">
      <dgm:prSet/>
      <dgm:spPr/>
      <dgm:t>
        <a:bodyPr/>
        <a:lstStyle/>
        <a:p>
          <a:endParaRPr lang="en-US"/>
        </a:p>
      </dgm:t>
    </dgm:pt>
    <dgm:pt modelId="{D8C50E35-3552-B448-B86F-D91AA94E1D78}" type="sibTrans" cxnId="{A12CCD91-69DF-4DF3-AF8C-5E575A3DB190}">
      <dgm:prSet/>
      <dgm:spPr/>
      <dgm:t>
        <a:bodyPr/>
        <a:lstStyle/>
        <a:p>
          <a:endParaRPr lang="en-US"/>
        </a:p>
      </dgm:t>
    </dgm:pt>
    <dgm:pt modelId="{7F9CA40A-FB21-EB4C-90CE-2B1CFA54D562}">
      <dgm:prSet phldrT="[Text]" custT="1"/>
      <dgm:spPr/>
      <dgm:t>
        <a:bodyPr/>
        <a:lstStyle/>
        <a:p>
          <a:r>
            <a:rPr lang="en-US" sz="1200" dirty="0"/>
            <a:t>State variables store values of the state for each contract instance</a:t>
          </a:r>
          <a:br>
            <a:rPr lang="en-US" sz="1200" dirty="0"/>
          </a:br>
          <a:endParaRPr lang="en-US" sz="1200" dirty="0"/>
        </a:p>
      </dgm:t>
    </dgm:pt>
    <dgm:pt modelId="{FB56CC65-3174-5942-901F-78F5D60CB511}" type="parTrans" cxnId="{C22C94DD-2B5D-4447-900D-3D686D15BA50}">
      <dgm:prSet/>
      <dgm:spPr/>
      <dgm:t>
        <a:bodyPr/>
        <a:lstStyle/>
        <a:p>
          <a:endParaRPr lang="en-US"/>
        </a:p>
      </dgm:t>
    </dgm:pt>
    <dgm:pt modelId="{26F71CCA-6513-B64B-9C8D-920A4BD6E55C}" type="sibTrans" cxnId="{C22C94DD-2B5D-4447-900D-3D686D15BA50}">
      <dgm:prSet/>
      <dgm:spPr/>
      <dgm:t>
        <a:bodyPr/>
        <a:lstStyle/>
        <a:p>
          <a:endParaRPr lang="en-US"/>
        </a:p>
      </dgm:t>
    </dgm:pt>
    <dgm:pt modelId="{EC49F6C6-D997-084C-8612-2D46DD5A7176}">
      <dgm:prSet phldrT="[Text]" custT="1"/>
      <dgm:spPr/>
      <dgm:t>
        <a:bodyPr/>
        <a:lstStyle/>
        <a:p>
          <a:r>
            <a:rPr lang="en-US" sz="1200" dirty="0"/>
            <a:t>The state variables in your contract must match the workflow properties defined in the configuration file</a:t>
          </a:r>
        </a:p>
      </dgm:t>
    </dgm:pt>
    <dgm:pt modelId="{C75998B6-BE82-E547-ACB4-638FA3460B92}" type="parTrans" cxnId="{A334C210-71B1-40BC-81B0-9406C179F362}">
      <dgm:prSet/>
      <dgm:spPr/>
      <dgm:t>
        <a:bodyPr/>
        <a:lstStyle/>
        <a:p>
          <a:endParaRPr lang="en-US"/>
        </a:p>
      </dgm:t>
    </dgm:pt>
    <dgm:pt modelId="{04738DDB-438E-1046-A266-A7B39AB944D1}" type="sibTrans" cxnId="{A334C210-71B1-40BC-81B0-9406C179F362}">
      <dgm:prSet/>
      <dgm:spPr/>
      <dgm:t>
        <a:bodyPr/>
        <a:lstStyle/>
        <a:p>
          <a:endParaRPr lang="en-US"/>
        </a:p>
      </dgm:t>
    </dgm:pt>
    <dgm:pt modelId="{EAA399BC-9721-B743-908A-4746BA10215A}">
      <dgm:prSet phldrT="[Text]"/>
      <dgm:spPr/>
      <dgm:t>
        <a:bodyPr/>
        <a:lstStyle/>
        <a:p>
          <a:r>
            <a:rPr lang="en-US" dirty="0"/>
            <a:t>Constructor</a:t>
          </a:r>
        </a:p>
      </dgm:t>
    </dgm:pt>
    <dgm:pt modelId="{9D19C632-3919-DE45-880A-E2AD016F0B25}" type="parTrans" cxnId="{B8E89262-283A-49F7-8A54-D2391E1B6B04}">
      <dgm:prSet/>
      <dgm:spPr/>
      <dgm:t>
        <a:bodyPr/>
        <a:lstStyle/>
        <a:p>
          <a:endParaRPr lang="en-US"/>
        </a:p>
      </dgm:t>
    </dgm:pt>
    <dgm:pt modelId="{68227547-BC39-C347-B8C5-E1BC84A76011}" type="sibTrans" cxnId="{B8E89262-283A-49F7-8A54-D2391E1B6B04}">
      <dgm:prSet/>
      <dgm:spPr/>
      <dgm:t>
        <a:bodyPr/>
        <a:lstStyle/>
        <a:p>
          <a:endParaRPr lang="en-US"/>
        </a:p>
      </dgm:t>
    </dgm:pt>
    <dgm:pt modelId="{FDF5CD54-EA25-3942-956C-82E1908345B4}">
      <dgm:prSet phldrT="[Text]" custT="1"/>
      <dgm:spPr/>
      <dgm:t>
        <a:bodyPr/>
        <a:lstStyle/>
        <a:p>
          <a:r>
            <a:rPr lang="en-US" sz="1200" dirty="0"/>
            <a:t>The constructor defines input parameters for a new smart contract instance of a workflow</a:t>
          </a:r>
        </a:p>
      </dgm:t>
    </dgm:pt>
    <dgm:pt modelId="{59CBB45F-ADCE-0B42-BA75-814208F7085B}" type="parTrans" cxnId="{44D7048F-3A26-4DB0-9984-844F28C28ACD}">
      <dgm:prSet/>
      <dgm:spPr/>
      <dgm:t>
        <a:bodyPr/>
        <a:lstStyle/>
        <a:p>
          <a:endParaRPr lang="en-US"/>
        </a:p>
      </dgm:t>
    </dgm:pt>
    <dgm:pt modelId="{2F47B318-1ACE-5C49-A4AA-991153F8B598}" type="sibTrans" cxnId="{44D7048F-3A26-4DB0-9984-844F28C28ACD}">
      <dgm:prSet/>
      <dgm:spPr/>
      <dgm:t>
        <a:bodyPr/>
        <a:lstStyle/>
        <a:p>
          <a:endParaRPr lang="en-US"/>
        </a:p>
      </dgm:t>
    </dgm:pt>
    <dgm:pt modelId="{E60FA42F-2092-AC4D-B4C3-16BD20080929}">
      <dgm:prSet phldrT="[Text]" custT="1"/>
      <dgm:spPr/>
      <dgm:t>
        <a:bodyPr/>
        <a:lstStyle/>
        <a:p>
          <a:r>
            <a:rPr lang="en-US" sz="1200" dirty="0"/>
            <a:t>The constructor is declared as a function with the same name as the contract</a:t>
          </a:r>
        </a:p>
      </dgm:t>
    </dgm:pt>
    <dgm:pt modelId="{1150579C-4A8E-F44A-88B2-202B8B0F39B7}" type="parTrans" cxnId="{1299F4EA-ADF1-49FE-8764-334C819B4CCE}">
      <dgm:prSet/>
      <dgm:spPr/>
      <dgm:t>
        <a:bodyPr/>
        <a:lstStyle/>
        <a:p>
          <a:endParaRPr lang="en-US"/>
        </a:p>
      </dgm:t>
    </dgm:pt>
    <dgm:pt modelId="{D9D76843-11A8-994C-B312-F6DE1F70CC86}" type="sibTrans" cxnId="{1299F4EA-ADF1-49FE-8764-334C819B4CCE}">
      <dgm:prSet/>
      <dgm:spPr/>
      <dgm:t>
        <a:bodyPr/>
        <a:lstStyle/>
        <a:p>
          <a:endParaRPr lang="en-US"/>
        </a:p>
      </dgm:t>
    </dgm:pt>
    <dgm:pt modelId="{96D68090-243F-3A41-A3C1-758EE278E71A}">
      <dgm:prSet phldrT="[Text]" custT="1"/>
      <dgm:spPr/>
      <dgm:t>
        <a:bodyPr/>
        <a:lstStyle/>
        <a:p>
          <a:r>
            <a:rPr lang="en-US" sz="1200" dirty="0"/>
            <a:t>Required parameters for the constructor are defined as constructor parameters in the configuration file </a:t>
          </a:r>
        </a:p>
      </dgm:t>
    </dgm:pt>
    <dgm:pt modelId="{341B4FDE-85BA-E54D-8A5C-5ABCAFC85046}" type="parTrans" cxnId="{B8E23671-6A4D-4644-BBE9-51DE6C7B86C6}">
      <dgm:prSet/>
      <dgm:spPr/>
      <dgm:t>
        <a:bodyPr/>
        <a:lstStyle/>
        <a:p>
          <a:endParaRPr lang="en-US"/>
        </a:p>
      </dgm:t>
    </dgm:pt>
    <dgm:pt modelId="{595B3F28-7CF7-094A-B06B-18FAD0834E66}" type="sibTrans" cxnId="{B8E23671-6A4D-4644-BBE9-51DE6C7B86C6}">
      <dgm:prSet/>
      <dgm:spPr/>
      <dgm:t>
        <a:bodyPr/>
        <a:lstStyle/>
        <a:p>
          <a:endParaRPr lang="en-US"/>
        </a:p>
      </dgm:t>
    </dgm:pt>
    <dgm:pt modelId="{AA7AC6F9-EA5C-C24F-9AA7-367614229CE5}">
      <dgm:prSet phldrT="[Text]" custT="1"/>
      <dgm:spPr/>
      <dgm:t>
        <a:bodyPr/>
        <a:lstStyle/>
        <a:p>
          <a:r>
            <a:rPr lang="en-US" sz="1200" dirty="0"/>
            <a:t>The number, order, and type of parameters must match in both files.</a:t>
          </a:r>
        </a:p>
      </dgm:t>
    </dgm:pt>
    <dgm:pt modelId="{503DE381-F5D2-B54F-AB4A-42323F6A79F3}" type="parTrans" cxnId="{DB43C5D1-8FD4-4020-8752-4631423F0006}">
      <dgm:prSet/>
      <dgm:spPr/>
      <dgm:t>
        <a:bodyPr/>
        <a:lstStyle/>
        <a:p>
          <a:endParaRPr lang="en-US"/>
        </a:p>
      </dgm:t>
    </dgm:pt>
    <dgm:pt modelId="{208FA664-611E-7E43-9E53-988972A2FAAB}" type="sibTrans" cxnId="{DB43C5D1-8FD4-4020-8752-4631423F0006}">
      <dgm:prSet/>
      <dgm:spPr/>
      <dgm:t>
        <a:bodyPr/>
        <a:lstStyle/>
        <a:p>
          <a:endParaRPr lang="en-US"/>
        </a:p>
      </dgm:t>
    </dgm:pt>
    <dgm:pt modelId="{4AC71D21-1492-3348-B7A6-5C2BCBD902D5}">
      <dgm:prSet phldrT="[Text]"/>
      <dgm:spPr/>
      <dgm:t>
        <a:bodyPr/>
        <a:lstStyle/>
        <a:p>
          <a:r>
            <a:rPr lang="en-US" dirty="0"/>
            <a:t>Functions</a:t>
          </a:r>
        </a:p>
      </dgm:t>
    </dgm:pt>
    <dgm:pt modelId="{9402E8AD-84FA-DD4F-859F-CDEB1436E7F3}" type="parTrans" cxnId="{4C8DA39C-87AB-4865-B888-36C4CB0E71DB}">
      <dgm:prSet/>
      <dgm:spPr/>
      <dgm:t>
        <a:bodyPr/>
        <a:lstStyle/>
        <a:p>
          <a:endParaRPr lang="en-US"/>
        </a:p>
      </dgm:t>
    </dgm:pt>
    <dgm:pt modelId="{EBA507D5-0C59-254B-A7F5-1D1427C5D840}" type="sibTrans" cxnId="{4C8DA39C-87AB-4865-B888-36C4CB0E71DB}">
      <dgm:prSet/>
      <dgm:spPr/>
      <dgm:t>
        <a:bodyPr/>
        <a:lstStyle/>
        <a:p>
          <a:endParaRPr lang="en-US"/>
        </a:p>
      </dgm:t>
    </dgm:pt>
    <dgm:pt modelId="{3449CA0B-085B-7749-B88D-B2F1CBAE4B99}">
      <dgm:prSet phldrT="[Text]" custT="1"/>
      <dgm:spPr/>
      <dgm:t>
        <a:bodyPr/>
        <a:lstStyle/>
        <a:p>
          <a:r>
            <a:rPr lang="en-US" sz="1200" b="0" i="0" u="none" dirty="0"/>
            <a:t>Functions are the executable units of business logic within a contract</a:t>
          </a:r>
          <a:br>
            <a:rPr lang="en-US" sz="1200" b="0" i="0" u="none" dirty="0"/>
          </a:br>
          <a:r>
            <a:rPr lang="en-US" sz="1200" b="0" i="0" u="none" dirty="0"/>
            <a:t> </a:t>
          </a:r>
          <a:endParaRPr lang="en-US" sz="1200" dirty="0"/>
        </a:p>
      </dgm:t>
    </dgm:pt>
    <dgm:pt modelId="{1C43AD30-7FC0-564B-A766-2458DF2E69E0}" type="parTrans" cxnId="{A12C9E46-C33C-4F79-B4C2-55EF299AAC0A}">
      <dgm:prSet/>
      <dgm:spPr/>
      <dgm:t>
        <a:bodyPr/>
        <a:lstStyle/>
        <a:p>
          <a:endParaRPr lang="en-US"/>
        </a:p>
      </dgm:t>
    </dgm:pt>
    <dgm:pt modelId="{A09686E9-C949-9F4F-9A90-14AE7F054DF9}" type="sibTrans" cxnId="{A12C9E46-C33C-4F79-B4C2-55EF299AAC0A}">
      <dgm:prSet/>
      <dgm:spPr/>
      <dgm:t>
        <a:bodyPr/>
        <a:lstStyle/>
        <a:p>
          <a:endParaRPr lang="en-US"/>
        </a:p>
      </dgm:t>
    </dgm:pt>
    <dgm:pt modelId="{75170E8D-BC1B-D740-BEB0-FD19E339036A}">
      <dgm:prSet phldrT="[Text]" custT="1"/>
      <dgm:spPr/>
      <dgm:t>
        <a:bodyPr/>
        <a:lstStyle/>
        <a:p>
          <a:r>
            <a:rPr lang="en-US" sz="1200" b="0" i="0" u="none" dirty="0"/>
            <a:t>Required parameters for the function are defined as function parameters in the configuration file</a:t>
          </a:r>
          <a:br>
            <a:rPr lang="en-US" sz="1200" b="0" i="0" u="none" dirty="0"/>
          </a:br>
          <a:r>
            <a:rPr lang="en-US" sz="1200" b="0" i="0" u="none" dirty="0"/>
            <a:t> </a:t>
          </a:r>
          <a:endParaRPr lang="en-US" sz="1200" dirty="0"/>
        </a:p>
      </dgm:t>
    </dgm:pt>
    <dgm:pt modelId="{CDB5A14D-D835-F942-8CBC-0983290E734F}" type="parTrans" cxnId="{B712741B-5983-44B7-B468-A3D2CA83D05D}">
      <dgm:prSet/>
      <dgm:spPr/>
      <dgm:t>
        <a:bodyPr/>
        <a:lstStyle/>
        <a:p>
          <a:endParaRPr lang="en-US"/>
        </a:p>
      </dgm:t>
    </dgm:pt>
    <dgm:pt modelId="{1C8594DC-7863-894A-AB3A-3C29378DA5DA}" type="sibTrans" cxnId="{B712741B-5983-44B7-B468-A3D2CA83D05D}">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0" presStyleCnt="4">
        <dgm:presLayoutVars>
          <dgm:chMax val="0"/>
          <dgm:chPref val="0"/>
          <dgm:bulletEnabled val="1"/>
        </dgm:presLayoutVars>
      </dgm:prSet>
      <dgm:spPr/>
    </dgm:pt>
    <dgm:pt modelId="{F4029437-CD94-9243-A4E6-230F610E13A7}" type="pres">
      <dgm:prSet presAssocID="{EF6F7FB3-D3E5-4548-BD1E-B72774CF5B92}" presName="desTx" presStyleLbl="alignAccFollowNode1" presStyleIdx="0" presStyleCnt="4">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1" presStyleCnt="4">
        <dgm:presLayoutVars>
          <dgm:chMax val="0"/>
          <dgm:chPref val="0"/>
          <dgm:bulletEnabled val="1"/>
        </dgm:presLayoutVars>
      </dgm:prSet>
      <dgm:spPr/>
    </dgm:pt>
    <dgm:pt modelId="{7186DE0A-A468-F844-8F3D-BC4EBCFEBA62}" type="pres">
      <dgm:prSet presAssocID="{2FB6C851-BFD2-3B40-A74C-E0990FBE416A}" presName="desTx" presStyleLbl="alignAccFollowNode1" presStyleIdx="1" presStyleCnt="4">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2" presStyleCnt="4">
        <dgm:presLayoutVars>
          <dgm:chMax val="0"/>
          <dgm:chPref val="0"/>
          <dgm:bulletEnabled val="1"/>
        </dgm:presLayoutVars>
      </dgm:prSet>
      <dgm:spPr/>
    </dgm:pt>
    <dgm:pt modelId="{2564D77F-41EC-7E4A-A245-9110782AA240}" type="pres">
      <dgm:prSet presAssocID="{EAA399BC-9721-B743-908A-4746BA10215A}" presName="desTx" presStyleLbl="alignAccFollowNode1" presStyleIdx="2" presStyleCnt="4">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3" presStyleCnt="4">
        <dgm:presLayoutVars>
          <dgm:chMax val="0"/>
          <dgm:chPref val="0"/>
          <dgm:bulletEnabled val="1"/>
        </dgm:presLayoutVars>
      </dgm:prSet>
      <dgm:spPr/>
    </dgm:pt>
    <dgm:pt modelId="{FDEEE735-727B-4C43-89AB-134B242C80FB}" type="pres">
      <dgm:prSet presAssocID="{4AC71D21-1492-3348-B7A6-5C2BCBD902D5}" presName="desTx" presStyleLbl="alignAccFollowNode1" presStyleIdx="3" presStyleCnt="4">
        <dgm:presLayoutVars>
          <dgm:bulletEnabled val="1"/>
        </dgm:presLayoutVars>
      </dgm:prSet>
      <dgm:spPr/>
    </dgm:pt>
  </dgm:ptLst>
  <dgm:cxnLst>
    <dgm:cxn modelId="{2289A809-E14E-43C2-8A88-FCE34619331A}" type="presOf" srcId="{00915C91-2BAC-CB44-9FA5-FC2883C261E5}" destId="{F4029437-CD94-9243-A4E6-230F610E13A7}" srcOrd="0" destOrd="0" presId="urn:microsoft.com/office/officeart/2005/8/layout/hList1"/>
    <dgm:cxn modelId="{A334C210-71B1-40BC-81B0-9406C179F362}" srcId="{2FB6C851-BFD2-3B40-A74C-E0990FBE416A}" destId="{EC49F6C6-D997-084C-8612-2D46DD5A7176}" srcOrd="1" destOrd="0" parTransId="{C75998B6-BE82-E547-ACB4-638FA3460B92}" sibTransId="{04738DDB-438E-1046-A266-A7B39AB944D1}"/>
    <dgm:cxn modelId="{B712741B-5983-44B7-B468-A3D2CA83D05D}" srcId="{4AC71D21-1492-3348-B7A6-5C2BCBD902D5}" destId="{75170E8D-BC1B-D740-BEB0-FD19E339036A}" srcOrd="1" destOrd="0" parTransId="{CDB5A14D-D835-F942-8CBC-0983290E734F}" sibTransId="{1C8594DC-7863-894A-AB3A-3C29378DA5DA}"/>
    <dgm:cxn modelId="{6497D91C-D0AA-40BA-994D-4F2E6D39BA42}" type="presOf" srcId="{CECDF376-691C-C44B-B0DD-0F70BA2E24CB}" destId="{F4029437-CD94-9243-A4E6-230F610E13A7}" srcOrd="0" destOrd="5" presId="urn:microsoft.com/office/officeart/2005/8/layout/hList1"/>
    <dgm:cxn modelId="{F003F31C-25B9-4E57-BA3B-4FD784F2B304}" type="presOf" srcId="{FDF5CD54-EA25-3942-956C-82E1908345B4}" destId="{2564D77F-41EC-7E4A-A245-9110782AA240}" srcOrd="0" destOrd="0" presId="urn:microsoft.com/office/officeart/2005/8/layout/hList1"/>
    <dgm:cxn modelId="{948BC721-3800-4A8A-968A-4E32DC244225}" type="presOf" srcId="{1B5B7AFB-57D0-C24C-A786-43096A5AC225}" destId="{FDEEE735-727B-4C43-89AB-134B242C80FB}" srcOrd="0" destOrd="2" presId="urn:microsoft.com/office/officeart/2005/8/layout/hList1"/>
    <dgm:cxn modelId="{5EA9A130-8ECB-46E7-B384-86062342618E}" type="presOf" srcId="{0B5810C7-3373-0940-9DA0-77F9BAD20039}" destId="{F4029437-CD94-9243-A4E6-230F610E13A7}" srcOrd="0" destOrd="4" presId="urn:microsoft.com/office/officeart/2005/8/layout/hList1"/>
    <dgm:cxn modelId="{481C2840-0A4A-4BB0-A6BA-1BECB47A6CD5}" type="presOf" srcId="{EE74E1FD-36DB-DD46-BF13-76B65F0AC30D}" destId="{F4029437-CD94-9243-A4E6-230F610E13A7}" srcOrd="0" destOrd="1" presId="urn:microsoft.com/office/officeart/2005/8/layout/hList1"/>
    <dgm:cxn modelId="{D0399F5D-2F34-437A-A81F-0A125CA5F925}" srcId="{EF6F7FB3-D3E5-4548-BD1E-B72774CF5B92}" destId="{CECDF376-691C-C44B-B0DD-0F70BA2E24CB}" srcOrd="5" destOrd="0" parTransId="{CE7163BD-01C1-9A4E-B5E0-B56A9F744374}" sibTransId="{8E30113C-80AA-8645-A0A3-DB636CFE456E}"/>
    <dgm:cxn modelId="{9F17495E-19D1-7D40-BCE4-17779A304E97}" type="presOf" srcId="{601D3C9A-68CD-1945-ADB7-DA2E05599C5A}" destId="{A0ED3AAA-DC34-4245-958B-1C17AB663406}" srcOrd="0" destOrd="0" presId="urn:microsoft.com/office/officeart/2005/8/layout/hList1"/>
    <dgm:cxn modelId="{1D6F9241-73FB-49C2-A1CB-A973FF1CAF59}" type="presOf" srcId="{75170E8D-BC1B-D740-BEB0-FD19E339036A}" destId="{FDEEE735-727B-4C43-89AB-134B242C80FB}" srcOrd="0" destOrd="1" presId="urn:microsoft.com/office/officeart/2005/8/layout/hList1"/>
    <dgm:cxn modelId="{88C10C62-EBDF-445B-9031-F2F84A99497B}" type="presOf" srcId="{E307C5A6-904E-1343-979E-725A9F8FF469}" destId="{F4029437-CD94-9243-A4E6-230F610E13A7}" srcOrd="0" destOrd="3" presId="urn:microsoft.com/office/officeart/2005/8/layout/hList1"/>
    <dgm:cxn modelId="{B8E89262-283A-49F7-8A54-D2391E1B6B04}" srcId="{601D3C9A-68CD-1945-ADB7-DA2E05599C5A}" destId="{EAA399BC-9721-B743-908A-4746BA10215A}" srcOrd="2" destOrd="0" parTransId="{9D19C632-3919-DE45-880A-E2AD016F0B25}" sibTransId="{68227547-BC39-C347-B8C5-E1BC84A76011}"/>
    <dgm:cxn modelId="{A12C9E46-C33C-4F79-B4C2-55EF299AAC0A}" srcId="{4AC71D21-1492-3348-B7A6-5C2BCBD902D5}" destId="{3449CA0B-085B-7749-B88D-B2F1CBAE4B99}" srcOrd="0" destOrd="0" parTransId="{1C43AD30-7FC0-564B-A766-2458DF2E69E0}" sibTransId="{A09686E9-C949-9F4F-9A90-14AE7F054DF9}"/>
    <dgm:cxn modelId="{7D341069-F728-421F-ADCB-EC2C17F47AD9}" srcId="{EF6F7FB3-D3E5-4548-BD1E-B72774CF5B92}" destId="{6117F474-1AD4-E141-93EE-43518BA761D0}" srcOrd="2" destOrd="0" parTransId="{154DB7A4-8083-F649-91AF-57B30B11431B}" sibTransId="{53EB06E2-B7B4-B24B-8369-1DCCB801E6BD}"/>
    <dgm:cxn modelId="{9AADBE6C-3E71-4605-BC27-4F5FFA6C8518}" type="presOf" srcId="{6117F474-1AD4-E141-93EE-43518BA761D0}" destId="{F4029437-CD94-9243-A4E6-230F610E13A7}" srcOrd="0" destOrd="2" presId="urn:microsoft.com/office/officeart/2005/8/layout/hList1"/>
    <dgm:cxn modelId="{D389084E-6796-4734-940D-BA8ABAD6DDAF}" srcId="{EF6F7FB3-D3E5-4548-BD1E-B72774CF5B92}" destId="{B91B23CD-F7DF-CF4C-AA96-C5AE11072FEB}" srcOrd="6" destOrd="0" parTransId="{47E11246-F866-CA4C-81FD-1C2892219D62}" sibTransId="{E794840E-11F5-7446-B800-5B716BED825D}"/>
    <dgm:cxn modelId="{5D4F6E6F-2595-4ED0-8B73-6C8638C09930}" type="presOf" srcId="{E60FA42F-2092-AC4D-B4C3-16BD20080929}" destId="{2564D77F-41EC-7E4A-A245-9110782AA240}" srcOrd="0" destOrd="1" presId="urn:microsoft.com/office/officeart/2005/8/layout/hList1"/>
    <dgm:cxn modelId="{B8E23671-6A4D-4644-BBE9-51DE6C7B86C6}" srcId="{EAA399BC-9721-B743-908A-4746BA10215A}" destId="{96D68090-243F-3A41-A3C1-758EE278E71A}" srcOrd="2" destOrd="0" parTransId="{341B4FDE-85BA-E54D-8A5C-5ABCAFC85046}" sibTransId="{595B3F28-7CF7-094A-B06B-18FAD0834E66}"/>
    <dgm:cxn modelId="{7C89A959-A781-47AE-9AE1-04FC8FCD908D}" type="presOf" srcId="{3449CA0B-085B-7749-B88D-B2F1CBAE4B99}" destId="{FDEEE735-727B-4C43-89AB-134B242C80FB}" srcOrd="0" destOrd="0" presId="urn:microsoft.com/office/officeart/2005/8/layout/hList1"/>
    <dgm:cxn modelId="{E2BD2986-2DC8-4067-817A-675FB6AE42F6}" type="presOf" srcId="{7F9CA40A-FB21-EB4C-90CE-2B1CFA54D562}" destId="{7186DE0A-A468-F844-8F3D-BC4EBCFEBA62}" srcOrd="0" destOrd="0" presId="urn:microsoft.com/office/officeart/2005/8/layout/hList1"/>
    <dgm:cxn modelId="{290AA688-695D-41B3-8CA6-C0AA27F24E9A}" type="presOf" srcId="{EC49F6C6-D997-084C-8612-2D46DD5A7176}" destId="{7186DE0A-A468-F844-8F3D-BC4EBCFEBA62}" srcOrd="0" destOrd="1" presId="urn:microsoft.com/office/officeart/2005/8/layout/hList1"/>
    <dgm:cxn modelId="{8FCD128A-228E-4DF6-85BB-CC76F5E809A0}" type="presOf" srcId="{4AC71D21-1492-3348-B7A6-5C2BCBD902D5}" destId="{0E32FB3D-56EA-B24A-9E94-469C9E603473}" srcOrd="0" destOrd="0" presId="urn:microsoft.com/office/officeart/2005/8/layout/hList1"/>
    <dgm:cxn modelId="{44D7048F-3A26-4DB0-9984-844F28C28ACD}" srcId="{EAA399BC-9721-B743-908A-4746BA10215A}" destId="{FDF5CD54-EA25-3942-956C-82E1908345B4}" srcOrd="0" destOrd="0" parTransId="{59CBB45F-ADCE-0B42-BA75-814208F7085B}" sibTransId="{2F47B318-1ACE-5C49-A4AA-991153F8B598}"/>
    <dgm:cxn modelId="{A12CCD91-69DF-4DF3-AF8C-5E575A3DB190}" srcId="{601D3C9A-68CD-1945-ADB7-DA2E05599C5A}" destId="{2FB6C851-BFD2-3B40-A74C-E0990FBE416A}" srcOrd="1" destOrd="0" parTransId="{69ED7902-97D8-9649-A75F-28025A394F19}" sibTransId="{D8C50E35-3552-B448-B86F-D91AA94E1D78}"/>
    <dgm:cxn modelId="{120F3A93-1EAC-49C6-B3BD-DC779026E2A1}" srcId="{EF6F7FB3-D3E5-4548-BD1E-B72774CF5B92}" destId="{0B5810C7-3373-0940-9DA0-77F9BAD20039}" srcOrd="4" destOrd="0" parTransId="{1074E96E-3C25-BF41-BE46-317BB44DD0E1}" sibTransId="{E977F061-804B-5244-A884-6E2795799812}"/>
    <dgm:cxn modelId="{3964E694-E239-4D06-B33B-9AB4C0BF4AEB}" srcId="{EF6F7FB3-D3E5-4548-BD1E-B72774CF5B92}" destId="{EE74E1FD-36DB-DD46-BF13-76B65F0AC30D}" srcOrd="1" destOrd="0" parTransId="{281854AB-1940-9640-91D9-010541892070}" sibTransId="{F5279980-9FF2-C045-884E-BE776457C196}"/>
    <dgm:cxn modelId="{132D4199-0DE0-43F7-A8BE-B628780E5A42}" srcId="{EF6F7FB3-D3E5-4548-BD1E-B72774CF5B92}" destId="{E307C5A6-904E-1343-979E-725A9F8FF469}" srcOrd="3" destOrd="0" parTransId="{E69A362D-31C4-5643-9D0E-649F4C0B00CF}" sibTransId="{44B053BC-D2FA-7741-B6F2-E2D2781B7CC5}"/>
    <dgm:cxn modelId="{E911279A-9906-4198-B6D2-AA93DF303D9E}" srcId="{601D3C9A-68CD-1945-ADB7-DA2E05599C5A}" destId="{EF6F7FB3-D3E5-4548-BD1E-B72774CF5B92}" srcOrd="0" destOrd="0" parTransId="{45730361-F738-1D4E-A3C5-411A94807EC9}" sibTransId="{3EE142BA-28AD-B148-A13A-EC6787931D89}"/>
    <dgm:cxn modelId="{53B27D9C-4BA0-4BDD-9AEB-96359411E3DF}" type="presOf" srcId="{B91B23CD-F7DF-CF4C-AA96-C5AE11072FEB}" destId="{F4029437-CD94-9243-A4E6-230F610E13A7}" srcOrd="0" destOrd="6" presId="urn:microsoft.com/office/officeart/2005/8/layout/hList1"/>
    <dgm:cxn modelId="{4C8DA39C-87AB-4865-B888-36C4CB0E71DB}" srcId="{601D3C9A-68CD-1945-ADB7-DA2E05599C5A}" destId="{4AC71D21-1492-3348-B7A6-5C2BCBD902D5}" srcOrd="3" destOrd="0" parTransId="{9402E8AD-84FA-DD4F-859F-CDEB1436E7F3}" sibTransId="{EBA507D5-0C59-254B-A7F5-1D1427C5D840}"/>
    <dgm:cxn modelId="{2CBC7E9F-5AB3-4692-A217-A45C47126262}" type="presOf" srcId="{2FB6C851-BFD2-3B40-A74C-E0990FBE416A}" destId="{8676B8BF-5D93-364A-B177-E7FD628083CA}" srcOrd="0" destOrd="0" presId="urn:microsoft.com/office/officeart/2005/8/layout/hList1"/>
    <dgm:cxn modelId="{8634D0B5-E374-B24C-84F7-AA700BBFCA41}" srcId="{4AC71D21-1492-3348-B7A6-5C2BCBD902D5}" destId="{1B5B7AFB-57D0-C24C-A786-43096A5AC225}" srcOrd="2" destOrd="0" parTransId="{32186EC6-F23F-5E4C-B07A-FA236FDEBBB8}" sibTransId="{5440F09A-A7D1-C148-BC9C-43BB1414766E}"/>
    <dgm:cxn modelId="{68A7F1BE-B40B-49DF-A33F-387214C3E5A6}" type="presOf" srcId="{96D68090-243F-3A41-A3C1-758EE278E71A}" destId="{2564D77F-41EC-7E4A-A245-9110782AA240}" srcOrd="0" destOrd="2" presId="urn:microsoft.com/office/officeart/2005/8/layout/hList1"/>
    <dgm:cxn modelId="{E88507CA-BEF2-4827-A77F-CAB1C70237F7}" type="presOf" srcId="{EF6F7FB3-D3E5-4548-BD1E-B72774CF5B92}" destId="{F559DA8F-9B70-E042-87E3-BAA2CDF72A58}" srcOrd="0" destOrd="0" presId="urn:microsoft.com/office/officeart/2005/8/layout/hList1"/>
    <dgm:cxn modelId="{DB43C5D1-8FD4-4020-8752-4631423F0006}" srcId="{EAA399BC-9721-B743-908A-4746BA10215A}" destId="{AA7AC6F9-EA5C-C24F-9AA7-367614229CE5}" srcOrd="3" destOrd="0" parTransId="{503DE381-F5D2-B54F-AB4A-42323F6A79F3}" sibTransId="{208FA664-611E-7E43-9E53-988972A2FAAB}"/>
    <dgm:cxn modelId="{C22C94DD-2B5D-4447-900D-3D686D15BA50}" srcId="{2FB6C851-BFD2-3B40-A74C-E0990FBE416A}" destId="{7F9CA40A-FB21-EB4C-90CE-2B1CFA54D562}" srcOrd="0" destOrd="0" parTransId="{FB56CC65-3174-5942-901F-78F5D60CB511}" sibTransId="{26F71CCA-6513-B64B-9C8D-920A4BD6E55C}"/>
    <dgm:cxn modelId="{B6D8BAE8-FF5F-47B8-9570-4CBAC22C1694}" srcId="{EF6F7FB3-D3E5-4548-BD1E-B72774CF5B92}" destId="{00915C91-2BAC-CB44-9FA5-FC2883C261E5}" srcOrd="0" destOrd="0" parTransId="{3659585A-5D96-424C-8A2E-8A3687C2367C}" sibTransId="{2270BCC6-9E2B-4C4C-BCD4-A223C629D2A8}"/>
    <dgm:cxn modelId="{1299F4EA-ADF1-49FE-8764-334C819B4CCE}" srcId="{EAA399BC-9721-B743-908A-4746BA10215A}" destId="{E60FA42F-2092-AC4D-B4C3-16BD20080929}" srcOrd="1" destOrd="0" parTransId="{1150579C-4A8E-F44A-88B2-202B8B0F39B7}" sibTransId="{D9D76843-11A8-994C-B312-F6DE1F70CC86}"/>
    <dgm:cxn modelId="{CE37DFF4-2A53-46EF-818D-D126E89C9E04}" type="presOf" srcId="{EAA399BC-9721-B743-908A-4746BA10215A}" destId="{0F2E45FF-7FE9-FF49-8DB5-095D84C0F1B7}" srcOrd="0" destOrd="0" presId="urn:microsoft.com/office/officeart/2005/8/layout/hList1"/>
    <dgm:cxn modelId="{DA3DC2FF-CA12-40D7-99DF-AC05823422D0}" type="presOf" srcId="{AA7AC6F9-EA5C-C24F-9AA7-367614229CE5}" destId="{2564D77F-41EC-7E4A-A245-9110782AA240}" srcOrd="0" destOrd="3" presId="urn:microsoft.com/office/officeart/2005/8/layout/hList1"/>
    <dgm:cxn modelId="{5EB11E65-4E19-4A28-992A-8041A11AA9FB}" type="presParOf" srcId="{A0ED3AAA-DC34-4245-958B-1C17AB663406}" destId="{69D527AC-4091-1346-A593-21DCC20F4CD2}" srcOrd="0" destOrd="0" presId="urn:microsoft.com/office/officeart/2005/8/layout/hList1"/>
    <dgm:cxn modelId="{2FB37E68-1F48-427F-A4B8-CA943D21C4E1}" type="presParOf" srcId="{69D527AC-4091-1346-A593-21DCC20F4CD2}" destId="{F559DA8F-9B70-E042-87E3-BAA2CDF72A58}" srcOrd="0" destOrd="0" presId="urn:microsoft.com/office/officeart/2005/8/layout/hList1"/>
    <dgm:cxn modelId="{D2EBC80E-740D-4DCC-8F12-7FE3D1898CB2}" type="presParOf" srcId="{69D527AC-4091-1346-A593-21DCC20F4CD2}" destId="{F4029437-CD94-9243-A4E6-230F610E13A7}" srcOrd="1" destOrd="0" presId="urn:microsoft.com/office/officeart/2005/8/layout/hList1"/>
    <dgm:cxn modelId="{CF06A87B-5F95-4462-9571-338EE612AE32}" type="presParOf" srcId="{A0ED3AAA-DC34-4245-958B-1C17AB663406}" destId="{11938A7F-2459-F64D-895E-B6AD2A84019D}" srcOrd="1" destOrd="0" presId="urn:microsoft.com/office/officeart/2005/8/layout/hList1"/>
    <dgm:cxn modelId="{E77DCAB0-A5AD-495F-921C-427425CD3EFD}" type="presParOf" srcId="{A0ED3AAA-DC34-4245-958B-1C17AB663406}" destId="{2951423E-C911-9B43-ADFF-461A2AFE3377}" srcOrd="2" destOrd="0" presId="urn:microsoft.com/office/officeart/2005/8/layout/hList1"/>
    <dgm:cxn modelId="{F88BBF6F-69F1-49FF-8B6A-A60D7FE97D53}" type="presParOf" srcId="{2951423E-C911-9B43-ADFF-461A2AFE3377}" destId="{8676B8BF-5D93-364A-B177-E7FD628083CA}" srcOrd="0" destOrd="0" presId="urn:microsoft.com/office/officeart/2005/8/layout/hList1"/>
    <dgm:cxn modelId="{4DEBDD16-5F26-44BF-BBEF-A1D30CFAE653}" type="presParOf" srcId="{2951423E-C911-9B43-ADFF-461A2AFE3377}" destId="{7186DE0A-A468-F844-8F3D-BC4EBCFEBA62}" srcOrd="1" destOrd="0" presId="urn:microsoft.com/office/officeart/2005/8/layout/hList1"/>
    <dgm:cxn modelId="{1915AE59-8349-429C-BA88-0C7A55904B66}" type="presParOf" srcId="{A0ED3AAA-DC34-4245-958B-1C17AB663406}" destId="{3AC3ACB8-807E-604C-8E3A-3CD69377C72A}" srcOrd="3" destOrd="0" presId="urn:microsoft.com/office/officeart/2005/8/layout/hList1"/>
    <dgm:cxn modelId="{01A3CB77-0C64-4763-BAB8-5C294BC1FC4E}" type="presParOf" srcId="{A0ED3AAA-DC34-4245-958B-1C17AB663406}" destId="{95B24CD4-4F2F-AE4E-BB09-A3D301E9DD1F}" srcOrd="4" destOrd="0" presId="urn:microsoft.com/office/officeart/2005/8/layout/hList1"/>
    <dgm:cxn modelId="{5BA1C18D-5F74-4D39-9FBB-ABC17E86B894}" type="presParOf" srcId="{95B24CD4-4F2F-AE4E-BB09-A3D301E9DD1F}" destId="{0F2E45FF-7FE9-FF49-8DB5-095D84C0F1B7}" srcOrd="0" destOrd="0" presId="urn:microsoft.com/office/officeart/2005/8/layout/hList1"/>
    <dgm:cxn modelId="{0901900A-725D-4385-8BBF-136ECD44DD99}" type="presParOf" srcId="{95B24CD4-4F2F-AE4E-BB09-A3D301E9DD1F}" destId="{2564D77F-41EC-7E4A-A245-9110782AA240}" srcOrd="1" destOrd="0" presId="urn:microsoft.com/office/officeart/2005/8/layout/hList1"/>
    <dgm:cxn modelId="{53746FDA-18EF-443E-B432-EB30D767F481}" type="presParOf" srcId="{A0ED3AAA-DC34-4245-958B-1C17AB663406}" destId="{9C501F13-EA3C-4147-AD30-2F4EFBDDBF6D}" srcOrd="5" destOrd="0" presId="urn:microsoft.com/office/officeart/2005/8/layout/hList1"/>
    <dgm:cxn modelId="{35A953AD-A569-40E9-9619-64BB79BF62AD}" type="presParOf" srcId="{A0ED3AAA-DC34-4245-958B-1C17AB663406}" destId="{327C4128-FFE2-EA43-9A30-3D5C39C803F1}" srcOrd="6" destOrd="0" presId="urn:microsoft.com/office/officeart/2005/8/layout/hList1"/>
    <dgm:cxn modelId="{A58B48D1-D4EA-473E-9F20-A3BB7337457D}" type="presParOf" srcId="{327C4128-FFE2-EA43-9A30-3D5C39C803F1}" destId="{0E32FB3D-56EA-B24A-9E94-469C9E603473}" srcOrd="0" destOrd="0" presId="urn:microsoft.com/office/officeart/2005/8/layout/hList1"/>
    <dgm:cxn modelId="{FDBE02B3-83C0-481B-B3C9-4CD16F7EDA6C}" type="presParOf" srcId="{327C4128-FFE2-EA43-9A30-3D5C39C803F1}" destId="{FDEEE735-727B-4C43-89AB-134B242C80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Workflow</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61897AD0-23B2-154C-86D2-E400A5896A0E}">
      <dgm:prSet phldrT="[Text]" custT="1"/>
      <dgm:spPr/>
      <dgm:t>
        <a:bodyPr/>
        <a:lstStyle/>
        <a:p>
          <a:r>
            <a:rPr lang="en-US" sz="1400" dirty="0"/>
            <a:t>Collection of states and actions that models application business logic as a state machine</a:t>
          </a:r>
          <a:br>
            <a:rPr lang="en-US" sz="1400" dirty="0"/>
          </a:br>
          <a:endParaRPr lang="en-US" sz="1400" dirty="0"/>
        </a:p>
      </dgm:t>
    </dgm:pt>
    <dgm:pt modelId="{2AFF3A5B-30E9-BF44-86B7-A93B6D95B237}" type="parTrans" cxnId="{F6B7C667-F7D9-AE4C-B15E-F158C7A45FAF}">
      <dgm:prSet/>
      <dgm:spPr/>
      <dgm:t>
        <a:bodyPr/>
        <a:lstStyle/>
        <a:p>
          <a:endParaRPr lang="en-US"/>
        </a:p>
      </dgm:t>
    </dgm:pt>
    <dgm:pt modelId="{EE034AE8-6B16-2D49-88B4-99C48610820A}" type="sibTrans" cxnId="{F6B7C667-F7D9-AE4C-B15E-F158C7A45FAF}">
      <dgm:prSet/>
      <dgm:spPr/>
      <dgm:t>
        <a:bodyPr/>
        <a:lstStyle/>
        <a:p>
          <a:endParaRPr lang="en-US"/>
        </a:p>
      </dgm:t>
    </dgm:pt>
    <dgm:pt modelId="{2FB6C851-BFD2-3B40-A74C-E0990FBE416A}">
      <dgm:prSet phldrT="[Text]"/>
      <dgm:spPr/>
      <dgm:t>
        <a:bodyPr/>
        <a:lstStyle/>
        <a:p>
          <a:r>
            <a:rPr lang="en-US" dirty="0"/>
            <a:t>Constructor</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400" dirty="0"/>
            <a:t>Defines input parameters for an instance of a workflow</a:t>
          </a:r>
          <a:br>
            <a:rPr lang="en-US" sz="1400" dirty="0"/>
          </a:br>
          <a:endParaRPr lang="en-US" sz="14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0572007E-4073-C647-B20C-6FBBED67E818}">
      <dgm:prSet phldrT="[Text]" custT="1"/>
      <dgm:spPr/>
      <dgm:t>
        <a:bodyPr/>
        <a:lstStyle/>
        <a:p>
          <a:r>
            <a:rPr lang="en-US" sz="1400" dirty="0"/>
            <a:t>Maps to the Parameters column of the chart on the previous slide</a:t>
          </a:r>
        </a:p>
      </dgm:t>
    </dgm:pt>
    <dgm:pt modelId="{3E7BD8DD-63F0-534F-AC45-93135C8340A4}" type="parTrans" cxnId="{566BC760-462F-1347-8C8C-1F9352B5FAB0}">
      <dgm:prSet/>
      <dgm:spPr/>
      <dgm:t>
        <a:bodyPr/>
        <a:lstStyle/>
        <a:p>
          <a:endParaRPr lang="en-US"/>
        </a:p>
      </dgm:t>
    </dgm:pt>
    <dgm:pt modelId="{0D4E0869-FC29-F242-BDBC-3E8F1DE89E82}" type="sibTrans" cxnId="{566BC760-462F-1347-8C8C-1F9352B5FAB0}">
      <dgm:prSet/>
      <dgm:spPr/>
      <dgm:t>
        <a:bodyPr/>
        <a:lstStyle/>
        <a:p>
          <a:endParaRPr lang="en-US"/>
        </a:p>
      </dgm:t>
    </dgm:pt>
    <dgm:pt modelId="{EAA399BC-9721-B743-908A-4746BA10215A}">
      <dgm:prSet phldrT="[Text]"/>
      <dgm:spPr/>
      <dgm:t>
        <a:bodyPr/>
        <a:lstStyle/>
        <a:p>
          <a:r>
            <a:rPr lang="en-US" dirty="0"/>
            <a:t>Functions</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400" dirty="0"/>
            <a:t>Defines functions that can be executed on the workflow</a:t>
          </a:r>
          <a:br>
            <a:rPr lang="en-US" sz="1400" dirty="0"/>
          </a:br>
          <a:endParaRPr lang="en-US" sz="1400" dirty="0"/>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3F6B1B6C-C2FD-1C47-8097-F4FA7254109B}">
      <dgm:prSet phldrT="[Text]" custT="1"/>
      <dgm:spPr/>
      <dgm:t>
        <a:bodyPr/>
        <a:lstStyle/>
        <a:p>
          <a:r>
            <a:rPr lang="en-US" sz="1400" dirty="0"/>
            <a:t>The corresponding smart contract must use the same Name for the applicable function</a:t>
          </a:r>
          <a:br>
            <a:rPr lang="en-US" sz="1400" dirty="0"/>
          </a:br>
          <a:endParaRPr lang="en-US" sz="1400" dirty="0"/>
        </a:p>
      </dgm:t>
    </dgm:pt>
    <dgm:pt modelId="{813B38D7-AB05-6B4C-8AF3-3347A563928B}" type="parTrans" cxnId="{BE905F82-9FCC-004A-A0F6-A9FF26C784DD}">
      <dgm:prSet/>
      <dgm:spPr/>
      <dgm:t>
        <a:bodyPr/>
        <a:lstStyle/>
        <a:p>
          <a:endParaRPr lang="en-US"/>
        </a:p>
      </dgm:t>
    </dgm:pt>
    <dgm:pt modelId="{AE024315-D86F-F54A-AE4D-969E581EC9AB}" type="sibTrans" cxnId="{BE905F82-9FCC-004A-A0F6-A9FF26C784DD}">
      <dgm:prSet/>
      <dgm:spPr/>
      <dgm:t>
        <a:bodyPr/>
        <a:lstStyle/>
        <a:p>
          <a:endParaRPr lang="en-US"/>
        </a:p>
      </dgm:t>
    </dgm:pt>
    <dgm:pt modelId="{4AC71D21-1492-3348-B7A6-5C2BCBD902D5}">
      <dgm:prSet phldrT="[Text]"/>
      <dgm:spPr/>
      <dgm:t>
        <a:bodyPr/>
        <a:lstStyle/>
        <a:p>
          <a:r>
            <a:rPr lang="en-US" dirty="0"/>
            <a:t>State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80FFFCBF-D80C-E747-9FB3-93483E5A3463}">
      <dgm:prSet phldrT="[Text]"/>
      <dgm:spPr/>
      <dgm:t>
        <a:bodyPr/>
        <a:lstStyle/>
        <a:p>
          <a:r>
            <a:rPr lang="en-US" dirty="0"/>
            <a:t>Transitions</a:t>
          </a:r>
        </a:p>
      </dgm:t>
    </dgm:pt>
    <dgm:pt modelId="{FA0FC2D7-8BF9-8640-90C1-8FE764979180}" type="parTrans" cxnId="{D39492EB-3035-754B-8D64-1AE51287BD5E}">
      <dgm:prSet/>
      <dgm:spPr/>
      <dgm:t>
        <a:bodyPr/>
        <a:lstStyle/>
        <a:p>
          <a:endParaRPr lang="en-US"/>
        </a:p>
      </dgm:t>
    </dgm:pt>
    <dgm:pt modelId="{B631F706-114F-6B4B-B377-0D22CADAC5BE}" type="sibTrans" cxnId="{D39492EB-3035-754B-8D64-1AE51287BD5E}">
      <dgm:prSet/>
      <dgm:spPr/>
      <dgm:t>
        <a:bodyPr/>
        <a:lstStyle/>
        <a:p>
          <a:endParaRPr lang="en-US"/>
        </a:p>
      </dgm:t>
    </dgm:pt>
    <dgm:pt modelId="{3449CA0B-085B-7749-B88D-B2F1CBAE4B99}">
      <dgm:prSet phldrT="[Text]" custT="1"/>
      <dgm:spPr/>
      <dgm:t>
        <a:bodyPr/>
        <a:lstStyle/>
        <a:p>
          <a:r>
            <a:rPr lang="en-US" sz="1400" b="0" i="0" u="none" dirty="0"/>
            <a:t>States that define the status within the workflow</a:t>
          </a:r>
          <a:br>
            <a:rPr lang="en-US" sz="1400" b="0" i="0" u="none" dirty="0"/>
          </a:br>
          <a:endParaRPr lang="en-US" sz="14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74EEF99F-C04B-464D-AA6E-2ABE3105634C}">
      <dgm:prSet phldrT="[Text]"/>
      <dgm:spPr/>
      <dgm:t>
        <a:bodyPr/>
        <a:lstStyle/>
        <a:p>
          <a:endParaRPr lang="en-US" sz="1900" dirty="0"/>
        </a:p>
      </dgm:t>
    </dgm:pt>
    <dgm:pt modelId="{68EFC4DF-08A0-FF4E-B77B-D8305E73CB60}" type="parTrans" cxnId="{77FFF58D-858B-0547-BAD1-616902D27719}">
      <dgm:prSet/>
      <dgm:spPr/>
      <dgm:t>
        <a:bodyPr/>
        <a:lstStyle/>
        <a:p>
          <a:endParaRPr lang="en-US"/>
        </a:p>
      </dgm:t>
    </dgm:pt>
    <dgm:pt modelId="{AB0610CE-253F-7B4E-AF5B-51EFA1DA3176}" type="sibTrans" cxnId="{77FFF58D-858B-0547-BAD1-616902D27719}">
      <dgm:prSet/>
      <dgm:spPr/>
      <dgm:t>
        <a:bodyPr/>
        <a:lstStyle/>
        <a:p>
          <a:endParaRPr lang="en-US"/>
        </a:p>
      </dgm:t>
    </dgm:pt>
    <dgm:pt modelId="{72BFE7F6-A176-1B47-B070-566F06008D8C}">
      <dgm:prSet phldrT="[Text]"/>
      <dgm:spPr/>
      <dgm:t>
        <a:bodyPr/>
        <a:lstStyle/>
        <a:p>
          <a:r>
            <a:rPr lang="en-US" dirty="0"/>
            <a:t>Application Roles</a:t>
          </a:r>
        </a:p>
      </dgm:t>
    </dgm:pt>
    <dgm:pt modelId="{6296460E-5054-D444-AC51-E3DB89F21CCE}" type="parTrans" cxnId="{10A70716-29CE-FE44-BA03-48A47D324671}">
      <dgm:prSet/>
      <dgm:spPr/>
      <dgm:t>
        <a:bodyPr/>
        <a:lstStyle/>
        <a:p>
          <a:endParaRPr lang="en-US"/>
        </a:p>
      </dgm:t>
    </dgm:pt>
    <dgm:pt modelId="{AC214A4B-81DB-1847-BF7D-A045432B18AC}" type="sibTrans" cxnId="{10A70716-29CE-FE44-BA03-48A47D324671}">
      <dgm:prSet/>
      <dgm:spPr/>
      <dgm:t>
        <a:bodyPr/>
        <a:lstStyle/>
        <a:p>
          <a:endParaRPr lang="en-US"/>
        </a:p>
      </dgm:t>
    </dgm:pt>
    <dgm:pt modelId="{77CE68CE-4744-1E48-9CD9-6762BE8CF3E5}">
      <dgm:prSet phldrT="[Text]" custT="1"/>
      <dgm:spPr/>
      <dgm:t>
        <a:bodyPr/>
        <a:lstStyle/>
        <a:p>
          <a:r>
            <a:rPr lang="en-US" sz="1400" dirty="0"/>
            <a:t>Based on Personas</a:t>
          </a:r>
          <a:br>
            <a:rPr lang="en-US" sz="1400" dirty="0"/>
          </a:br>
          <a:endParaRPr lang="en-US" sz="1400" dirty="0"/>
        </a:p>
      </dgm:t>
    </dgm:pt>
    <dgm:pt modelId="{5A2A8D0B-AF86-4B47-BA2A-4A9FCA5112F5}" type="parTrans" cxnId="{5F32F18B-5F24-484F-8086-41258263B521}">
      <dgm:prSet/>
      <dgm:spPr/>
      <dgm:t>
        <a:bodyPr/>
        <a:lstStyle/>
        <a:p>
          <a:endParaRPr lang="en-US"/>
        </a:p>
      </dgm:t>
    </dgm:pt>
    <dgm:pt modelId="{B4FF8DBE-ED9B-314D-A9D4-F739EBDA79FA}" type="sibTrans" cxnId="{5F32F18B-5F24-484F-8086-41258263B521}">
      <dgm:prSet/>
      <dgm:spPr/>
      <dgm:t>
        <a:bodyPr/>
        <a:lstStyle/>
        <a:p>
          <a:endParaRPr lang="en-US"/>
        </a:p>
      </dgm:t>
    </dgm:pt>
    <dgm:pt modelId="{B0C1D075-519D-D541-B411-AA19E2440782}">
      <dgm:prSet phldrT="[Text]" custT="1"/>
      <dgm:spPr/>
      <dgm:t>
        <a:bodyPr/>
        <a:lstStyle/>
        <a:p>
          <a:r>
            <a:rPr lang="en-US" sz="1400" dirty="0"/>
            <a:t>Initiators start the workflow process</a:t>
          </a:r>
          <a:br>
            <a:rPr lang="en-US" sz="1400" dirty="0"/>
          </a:br>
          <a:endParaRPr lang="en-US" sz="1400" dirty="0"/>
        </a:p>
      </dgm:t>
    </dgm:pt>
    <dgm:pt modelId="{36D62F5A-F93E-114B-A35E-CBD70077A35D}" type="parTrans" cxnId="{AC37683B-1BB7-9449-B703-7E5680EE93AA}">
      <dgm:prSet/>
      <dgm:spPr/>
      <dgm:t>
        <a:bodyPr/>
        <a:lstStyle/>
        <a:p>
          <a:endParaRPr lang="en-US"/>
        </a:p>
      </dgm:t>
    </dgm:pt>
    <dgm:pt modelId="{028937EE-3E5F-3A42-B717-58AFEC735DDB}" type="sibTrans" cxnId="{AC37683B-1BB7-9449-B703-7E5680EE93AA}">
      <dgm:prSet/>
      <dgm:spPr/>
      <dgm:t>
        <a:bodyPr/>
        <a:lstStyle/>
        <a:p>
          <a:endParaRPr lang="en-US"/>
        </a:p>
      </dgm:t>
    </dgm:pt>
    <dgm:pt modelId="{DE0F52DB-5EE7-FE40-BFD8-0B4D5601F323}">
      <dgm:prSet phldrT="[Text]" custT="1"/>
      <dgm:spPr/>
      <dgm:t>
        <a:bodyPr/>
        <a:lstStyle/>
        <a:p>
          <a:r>
            <a:rPr lang="en-US" sz="1400" dirty="0"/>
            <a:t>Linked to security groups in Azure Active Directory</a:t>
          </a:r>
          <a:br>
            <a:rPr lang="en-US" sz="1400" dirty="0"/>
          </a:br>
          <a:endParaRPr lang="en-US" sz="1400" dirty="0"/>
        </a:p>
      </dgm:t>
    </dgm:pt>
    <dgm:pt modelId="{2EB32924-DDAF-1540-BDE0-E456B7A9442F}" type="parTrans" cxnId="{5E989A67-E22B-8543-81CD-2142806C5753}">
      <dgm:prSet/>
      <dgm:spPr/>
      <dgm:t>
        <a:bodyPr/>
        <a:lstStyle/>
        <a:p>
          <a:endParaRPr lang="en-US"/>
        </a:p>
      </dgm:t>
    </dgm:pt>
    <dgm:pt modelId="{D6307B99-4333-AF4D-BE11-26DE0D3F51A9}" type="sibTrans" cxnId="{5E989A67-E22B-8543-81CD-2142806C5753}">
      <dgm:prSet/>
      <dgm:spPr/>
      <dgm:t>
        <a:bodyPr/>
        <a:lstStyle/>
        <a:p>
          <a:endParaRPr lang="en-US"/>
        </a:p>
      </dgm:t>
    </dgm:pt>
    <dgm:pt modelId="{977BF214-530D-E541-B1C2-2A1FBB2286CD}">
      <dgm:prSet phldrT="[Text]" custT="1"/>
      <dgm:spPr/>
      <dgm:t>
        <a:bodyPr/>
        <a:lstStyle/>
        <a:p>
          <a:r>
            <a:rPr lang="en-US" sz="1400" dirty="0"/>
            <a:t>Participants modify workflow data</a:t>
          </a:r>
          <a:br>
            <a:rPr lang="en-US" sz="1400" dirty="0"/>
          </a:br>
          <a:endParaRPr lang="en-US" sz="1400" dirty="0"/>
        </a:p>
      </dgm:t>
    </dgm:pt>
    <dgm:pt modelId="{256354CA-5B13-944D-9191-EC46D2346C65}" type="parTrans" cxnId="{3626C794-6EC5-E049-BA04-83A85EFD6422}">
      <dgm:prSet/>
      <dgm:spPr/>
      <dgm:t>
        <a:bodyPr/>
        <a:lstStyle/>
        <a:p>
          <a:endParaRPr lang="en-US"/>
        </a:p>
      </dgm:t>
    </dgm:pt>
    <dgm:pt modelId="{9E0DD595-6F2F-6341-B7B8-41C7CD55033C}" type="sibTrans" cxnId="{3626C794-6EC5-E049-BA04-83A85EFD6422}">
      <dgm:prSet/>
      <dgm:spPr/>
      <dgm:t>
        <a:bodyPr/>
        <a:lstStyle/>
        <a:p>
          <a:endParaRPr lang="en-US"/>
        </a:p>
      </dgm:t>
    </dgm:pt>
    <dgm:pt modelId="{43F2E7D0-3E74-B845-BE41-42DB0FACEA8B}">
      <dgm:prSet phldrT="[Text]" custT="1"/>
      <dgm:spPr/>
      <dgm:t>
        <a:bodyPr/>
        <a:lstStyle/>
        <a:p>
          <a:r>
            <a:rPr lang="en-US" sz="1400" dirty="0"/>
            <a:t>Observers have read-only access</a:t>
          </a:r>
        </a:p>
      </dgm:t>
    </dgm:pt>
    <dgm:pt modelId="{675EC152-EC54-6743-92F6-22A4CD25A76D}" type="parTrans" cxnId="{7A7808F7-036D-E14B-BF51-437DF1337C4F}">
      <dgm:prSet/>
      <dgm:spPr/>
      <dgm:t>
        <a:bodyPr/>
        <a:lstStyle/>
        <a:p>
          <a:endParaRPr lang="en-US"/>
        </a:p>
      </dgm:t>
    </dgm:pt>
    <dgm:pt modelId="{DCF8342D-5DEC-5B46-9FB0-F38922BDD4C8}" type="sibTrans" cxnId="{7A7808F7-036D-E14B-BF51-437DF1337C4F}">
      <dgm:prSet/>
      <dgm:spPr/>
      <dgm:t>
        <a:bodyPr/>
        <a:lstStyle/>
        <a:p>
          <a:endParaRPr lang="en-US"/>
        </a:p>
      </dgm:t>
    </dgm:pt>
    <dgm:pt modelId="{2BDD560E-259A-1043-B69F-4E50683D23B4}">
      <dgm:prSet phldrT="[Text]" custT="1"/>
      <dgm:spPr/>
      <dgm:t>
        <a:bodyPr/>
        <a:lstStyle/>
        <a:p>
          <a:r>
            <a:rPr lang="en-US" sz="1400" dirty="0"/>
            <a:t>Each workflow consists of one or more smart contracts, which represent the business logic in code files.</a:t>
          </a:r>
        </a:p>
      </dgm:t>
    </dgm:pt>
    <dgm:pt modelId="{AB896C38-77DF-EA4F-951C-9C08278E7A6C}" type="parTrans" cxnId="{8939B885-AA08-CC44-98A9-F0D04D593118}">
      <dgm:prSet/>
      <dgm:spPr/>
      <dgm:t>
        <a:bodyPr/>
        <a:lstStyle/>
        <a:p>
          <a:endParaRPr lang="en-US"/>
        </a:p>
      </dgm:t>
    </dgm:pt>
    <dgm:pt modelId="{F35080B0-4799-6B46-9CCD-695C96AA4106}" type="sibTrans" cxnId="{8939B885-AA08-CC44-98A9-F0D04D593118}">
      <dgm:prSet/>
      <dgm:spPr/>
      <dgm:t>
        <a:bodyPr/>
        <a:lstStyle/>
        <a:p>
          <a:endParaRPr lang="en-US"/>
        </a:p>
      </dgm:t>
    </dgm:pt>
    <dgm:pt modelId="{419EBB9F-C03F-A740-AC96-D56E80F9FA41}">
      <dgm:prSet phldrT="[Text]" custT="1"/>
      <dgm:spPr/>
      <dgm:t>
        <a:bodyPr/>
        <a:lstStyle/>
        <a:p>
          <a:r>
            <a:rPr lang="en-US" sz="1400" dirty="0"/>
            <a:t>Maps to the Available Actions on the previous slide</a:t>
          </a:r>
        </a:p>
      </dgm:t>
    </dgm:pt>
    <dgm:pt modelId="{0505B23F-4979-4A46-B41F-1BB468E4A874}" type="parTrans" cxnId="{DD238F8C-01D5-3241-B821-FC71580B2F78}">
      <dgm:prSet/>
      <dgm:spPr/>
      <dgm:t>
        <a:bodyPr/>
        <a:lstStyle/>
        <a:p>
          <a:endParaRPr lang="en-US"/>
        </a:p>
      </dgm:t>
    </dgm:pt>
    <dgm:pt modelId="{A45394D3-70AF-C84C-86C2-14E3CD07E290}" type="sibTrans" cxnId="{DD238F8C-01D5-3241-B821-FC71580B2F78}">
      <dgm:prSet/>
      <dgm:spPr/>
      <dgm:t>
        <a:bodyPr/>
        <a:lstStyle/>
        <a:p>
          <a:endParaRPr lang="en-US"/>
        </a:p>
      </dgm:t>
    </dgm:pt>
    <dgm:pt modelId="{D9559979-0B73-E640-90E8-C442F27E4284}">
      <dgm:prSet phldrT="[Text]" custT="1"/>
      <dgm:spPr/>
      <dgm:t>
        <a:bodyPr/>
        <a:lstStyle/>
        <a:p>
          <a:r>
            <a:rPr lang="en-US" sz="1400" dirty="0"/>
            <a:t>Maps to the current state and target state columns on the previous slide</a:t>
          </a:r>
        </a:p>
      </dgm:t>
    </dgm:pt>
    <dgm:pt modelId="{B8D5AC29-FC6A-B743-B6EF-798C17812C83}" type="parTrans" cxnId="{2F823051-3B38-024B-8320-EE4F3C1B0823}">
      <dgm:prSet/>
      <dgm:spPr/>
      <dgm:t>
        <a:bodyPr/>
        <a:lstStyle/>
        <a:p>
          <a:endParaRPr lang="en-US"/>
        </a:p>
      </dgm:t>
    </dgm:pt>
    <dgm:pt modelId="{0E886659-4D9F-D94F-AD11-82CB254D9D56}" type="sibTrans" cxnId="{2F823051-3B38-024B-8320-EE4F3C1B0823}">
      <dgm:prSet/>
      <dgm:spPr/>
      <dgm:t>
        <a:bodyPr/>
        <a:lstStyle/>
        <a:p>
          <a:endParaRPr lang="en-US"/>
        </a:p>
      </dgm:t>
    </dgm:pt>
    <dgm:pt modelId="{4DC0EBFF-FB11-7944-B7B9-BEDD77F14730}">
      <dgm:prSet phldrT="[Text]" custT="1"/>
      <dgm:spPr/>
      <dgm:t>
        <a:bodyPr/>
        <a:lstStyle/>
        <a:p>
          <a:r>
            <a:rPr lang="en-US" sz="1400" b="0" i="0" u="none" dirty="0"/>
            <a:t>Available actions to the next state</a:t>
          </a:r>
          <a:br>
            <a:rPr lang="en-US" sz="1400" b="0" i="0" u="none" dirty="0"/>
          </a:br>
          <a:endParaRPr lang="en-US" sz="1400" dirty="0"/>
        </a:p>
      </dgm:t>
    </dgm:pt>
    <dgm:pt modelId="{8EE52794-94D3-2848-863C-AE17D67CB247}" type="parTrans" cxnId="{910733E4-7DC3-AB45-BB60-EC5C5A340AA2}">
      <dgm:prSet/>
      <dgm:spPr/>
      <dgm:t>
        <a:bodyPr/>
        <a:lstStyle/>
        <a:p>
          <a:endParaRPr lang="en-US"/>
        </a:p>
      </dgm:t>
    </dgm:pt>
    <dgm:pt modelId="{22811381-C412-D048-8843-09483837A57F}" type="sibTrans" cxnId="{910733E4-7DC3-AB45-BB60-EC5C5A340AA2}">
      <dgm:prSet/>
      <dgm:spPr/>
      <dgm:t>
        <a:bodyPr/>
        <a:lstStyle/>
        <a:p>
          <a:endParaRPr lang="en-US"/>
        </a:p>
      </dgm:t>
    </dgm:pt>
    <dgm:pt modelId="{55772C64-5BD1-884E-8948-C8C5A62DC605}">
      <dgm:prSet phldrT="[Text]" custT="1"/>
      <dgm:spPr/>
      <dgm:t>
        <a:bodyPr/>
        <a:lstStyle/>
        <a:p>
          <a:r>
            <a:rPr lang="en-US" sz="1400" b="0" i="0" u="none" dirty="0"/>
            <a:t>One or more user roles may perform an action at each state, where an action may transition a state to another state in the workflow</a:t>
          </a:r>
          <a:endParaRPr lang="en-US" sz="1400" dirty="0"/>
        </a:p>
      </dgm:t>
    </dgm:pt>
    <dgm:pt modelId="{D6CB8975-DE2C-0C49-A83C-501FB5DCF132}" type="parTrans" cxnId="{3BDB6F51-50D3-9647-8E43-D5612CEE571E}">
      <dgm:prSet/>
      <dgm:spPr/>
      <dgm:t>
        <a:bodyPr/>
        <a:lstStyle/>
        <a:p>
          <a:endParaRPr lang="en-US"/>
        </a:p>
      </dgm:t>
    </dgm:pt>
    <dgm:pt modelId="{CDC13A5D-607C-9544-A548-798298B476AF}" type="sibTrans" cxnId="{3BDB6F51-50D3-9647-8E43-D5612CEE571E}">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B0D320FC-2E80-9243-9808-8FFF28CC6DAB}" type="pres">
      <dgm:prSet presAssocID="{72BFE7F6-A176-1B47-B070-566F06008D8C}" presName="composite" presStyleCnt="0"/>
      <dgm:spPr/>
    </dgm:pt>
    <dgm:pt modelId="{6C8C16B2-2954-C647-80EE-0BB68CE5C548}" type="pres">
      <dgm:prSet presAssocID="{72BFE7F6-A176-1B47-B070-566F06008D8C}" presName="parTx" presStyleLbl="alignNode1" presStyleIdx="0" presStyleCnt="6">
        <dgm:presLayoutVars>
          <dgm:chMax val="0"/>
          <dgm:chPref val="0"/>
          <dgm:bulletEnabled val="1"/>
        </dgm:presLayoutVars>
      </dgm:prSet>
      <dgm:spPr/>
    </dgm:pt>
    <dgm:pt modelId="{C2EE137D-227C-8B41-9CEF-F090A9F97D68}" type="pres">
      <dgm:prSet presAssocID="{72BFE7F6-A176-1B47-B070-566F06008D8C}" presName="desTx" presStyleLbl="alignAccFollowNode1" presStyleIdx="0" presStyleCnt="6">
        <dgm:presLayoutVars>
          <dgm:bulletEnabled val="1"/>
        </dgm:presLayoutVars>
      </dgm:prSet>
      <dgm:spPr/>
    </dgm:pt>
    <dgm:pt modelId="{A2464513-277E-0947-AAEF-04F6AE2F20A4}" type="pres">
      <dgm:prSet presAssocID="{AC214A4B-81DB-1847-BF7D-A045432B18AC}" presName="space" presStyleCnt="0"/>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1" presStyleCnt="6">
        <dgm:presLayoutVars>
          <dgm:chMax val="0"/>
          <dgm:chPref val="0"/>
          <dgm:bulletEnabled val="1"/>
        </dgm:presLayoutVars>
      </dgm:prSet>
      <dgm:spPr/>
    </dgm:pt>
    <dgm:pt modelId="{F4029437-CD94-9243-A4E6-230F610E13A7}" type="pres">
      <dgm:prSet presAssocID="{EF6F7FB3-D3E5-4548-BD1E-B72774CF5B92}" presName="desTx" presStyleLbl="alignAccFollowNode1" presStyleIdx="1" presStyleCnt="6">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2" presStyleCnt="6">
        <dgm:presLayoutVars>
          <dgm:chMax val="0"/>
          <dgm:chPref val="0"/>
          <dgm:bulletEnabled val="1"/>
        </dgm:presLayoutVars>
      </dgm:prSet>
      <dgm:spPr/>
    </dgm:pt>
    <dgm:pt modelId="{7186DE0A-A468-F844-8F3D-BC4EBCFEBA62}" type="pres">
      <dgm:prSet presAssocID="{2FB6C851-BFD2-3B40-A74C-E0990FBE416A}" presName="desTx" presStyleLbl="alignAccFollowNode1" presStyleIdx="2" presStyleCnt="6">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3" presStyleCnt="6">
        <dgm:presLayoutVars>
          <dgm:chMax val="0"/>
          <dgm:chPref val="0"/>
          <dgm:bulletEnabled val="1"/>
        </dgm:presLayoutVars>
      </dgm:prSet>
      <dgm:spPr/>
    </dgm:pt>
    <dgm:pt modelId="{2564D77F-41EC-7E4A-A245-9110782AA240}" type="pres">
      <dgm:prSet presAssocID="{EAA399BC-9721-B743-908A-4746BA10215A}" presName="desTx" presStyleLbl="alignAccFollowNode1" presStyleIdx="3" presStyleCnt="6">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4" presStyleCnt="6">
        <dgm:presLayoutVars>
          <dgm:chMax val="0"/>
          <dgm:chPref val="0"/>
          <dgm:bulletEnabled val="1"/>
        </dgm:presLayoutVars>
      </dgm:prSet>
      <dgm:spPr/>
    </dgm:pt>
    <dgm:pt modelId="{FDEEE735-727B-4C43-89AB-134B242C80FB}" type="pres">
      <dgm:prSet presAssocID="{4AC71D21-1492-3348-B7A6-5C2BCBD902D5}" presName="desTx" presStyleLbl="alignAccFollowNode1" presStyleIdx="4" presStyleCnt="6">
        <dgm:presLayoutVars>
          <dgm:bulletEnabled val="1"/>
        </dgm:presLayoutVars>
      </dgm:prSet>
      <dgm:spPr/>
    </dgm:pt>
    <dgm:pt modelId="{8CBF199C-592F-AD4C-BCD1-0F445E6DC00D}" type="pres">
      <dgm:prSet presAssocID="{EBA507D5-0C59-254B-A7F5-1D1427C5D840}" presName="space" presStyleCnt="0"/>
      <dgm:spPr/>
    </dgm:pt>
    <dgm:pt modelId="{24137B87-3789-D844-8C6A-C051303B27EA}" type="pres">
      <dgm:prSet presAssocID="{80FFFCBF-D80C-E747-9FB3-93483E5A3463}" presName="composite" presStyleCnt="0"/>
      <dgm:spPr/>
    </dgm:pt>
    <dgm:pt modelId="{95CEB0E8-8927-BF43-8014-0266F220DF5D}" type="pres">
      <dgm:prSet presAssocID="{80FFFCBF-D80C-E747-9FB3-93483E5A3463}" presName="parTx" presStyleLbl="alignNode1" presStyleIdx="5" presStyleCnt="6">
        <dgm:presLayoutVars>
          <dgm:chMax val="0"/>
          <dgm:chPref val="0"/>
          <dgm:bulletEnabled val="1"/>
        </dgm:presLayoutVars>
      </dgm:prSet>
      <dgm:spPr/>
    </dgm:pt>
    <dgm:pt modelId="{6CF2DC70-6E6F-0441-8D11-4FC560C5011F}" type="pres">
      <dgm:prSet presAssocID="{80FFFCBF-D80C-E747-9FB3-93483E5A3463}" presName="desTx" presStyleLbl="alignAccFollowNode1" presStyleIdx="5" presStyleCnt="6">
        <dgm:presLayoutVars>
          <dgm:bulletEnabled val="1"/>
        </dgm:presLayoutVars>
      </dgm:prSet>
      <dgm:spPr/>
    </dgm:pt>
  </dgm:ptLst>
  <dgm:cxnLst>
    <dgm:cxn modelId="{B832FA00-B44B-3547-806F-37DF15442267}" type="presOf" srcId="{74EEF99F-C04B-464D-AA6E-2ABE3105634C}" destId="{FDEEE735-727B-4C43-89AB-134B242C80FB}" srcOrd="0" destOrd="2"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27ED0F-9693-5541-A882-2F1BF1885277}" type="presOf" srcId="{2FB6C851-BFD2-3B40-A74C-E0990FBE416A}" destId="{8676B8BF-5D93-364A-B177-E7FD628083CA}" srcOrd="0" destOrd="0"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10A70716-29CE-FE44-BA03-48A47D324671}" srcId="{601D3C9A-68CD-1945-ADB7-DA2E05599C5A}" destId="{72BFE7F6-A176-1B47-B070-566F06008D8C}" srcOrd="0" destOrd="0" parTransId="{6296460E-5054-D444-AC51-E3DB89F21CCE}" sibTransId="{AC214A4B-81DB-1847-BF7D-A045432B18AC}"/>
    <dgm:cxn modelId="{12741625-C4BE-9146-AF75-0D64861D1EB2}" type="presOf" srcId="{3F6B1B6C-C2FD-1C47-8097-F4FA7254109B}" destId="{2564D77F-41EC-7E4A-A245-9110782AA240}" srcOrd="0" destOrd="1" presId="urn:microsoft.com/office/officeart/2005/8/layout/hList1"/>
    <dgm:cxn modelId="{214AEC25-2A3B-1A43-B0C9-5CECC3A466F0}" srcId="{601D3C9A-68CD-1945-ADB7-DA2E05599C5A}" destId="{EAA399BC-9721-B743-908A-4746BA10215A}" srcOrd="3" destOrd="0" parTransId="{9D19C632-3919-DE45-880A-E2AD016F0B25}" sibTransId="{68227547-BC39-C347-B8C5-E1BC84A76011}"/>
    <dgm:cxn modelId="{53EA6F34-717A-0C4E-8F53-E1DE64CD8FC2}" type="presOf" srcId="{EAA399BC-9721-B743-908A-4746BA10215A}" destId="{0F2E45FF-7FE9-FF49-8DB5-095D84C0F1B7}" srcOrd="0" destOrd="0" presId="urn:microsoft.com/office/officeart/2005/8/layout/hList1"/>
    <dgm:cxn modelId="{AC37683B-1BB7-9449-B703-7E5680EE93AA}" srcId="{72BFE7F6-A176-1B47-B070-566F06008D8C}" destId="{B0C1D075-519D-D541-B411-AA19E2440782}" srcOrd="2" destOrd="0" parTransId="{36D62F5A-F93E-114B-A35E-CBD70077A35D}" sibTransId="{028937EE-3E5F-3A42-B717-58AFEC735DDB}"/>
    <dgm:cxn modelId="{8E5F4E3B-55A3-1D4D-94BB-BDFBEEB5D40C}" type="presOf" srcId="{FDF5CD54-EA25-3942-956C-82E1908345B4}" destId="{2564D77F-41EC-7E4A-A245-9110782AA240}"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566BC760-462F-1347-8C8C-1F9352B5FAB0}" srcId="{2FB6C851-BFD2-3B40-A74C-E0990FBE416A}" destId="{0572007E-4073-C647-B20C-6FBBED67E818}" srcOrd="1" destOrd="0" parTransId="{3E7BD8DD-63F0-534F-AC45-93135C8340A4}" sibTransId="{0D4E0869-FC29-F242-BDBC-3E8F1DE89E82}"/>
    <dgm:cxn modelId="{1CBE6244-D81F-D245-A2B7-A95AC4FF71EE}" type="presOf" srcId="{4DC0EBFF-FB11-7944-B7B9-BEDD77F14730}" destId="{6CF2DC70-6E6F-0441-8D11-4FC560C5011F}" srcOrd="0" destOrd="0" presId="urn:microsoft.com/office/officeart/2005/8/layout/hList1"/>
    <dgm:cxn modelId="{99D95444-5B44-3347-8C58-07D0DA2919E5}" type="presOf" srcId="{2BDD560E-259A-1043-B69F-4E50683D23B4}" destId="{F4029437-CD94-9243-A4E6-230F610E13A7}" srcOrd="0" destOrd="1" presId="urn:microsoft.com/office/officeart/2005/8/layout/hList1"/>
    <dgm:cxn modelId="{9C486367-1AE4-0348-93C0-F1DCE69ED173}" type="presOf" srcId="{DE0F52DB-5EE7-FE40-BFD8-0B4D5601F323}" destId="{C2EE137D-227C-8B41-9CEF-F090A9F97D68}" srcOrd="0" destOrd="1" presId="urn:microsoft.com/office/officeart/2005/8/layout/hList1"/>
    <dgm:cxn modelId="{5E989A67-E22B-8543-81CD-2142806C5753}" srcId="{72BFE7F6-A176-1B47-B070-566F06008D8C}" destId="{DE0F52DB-5EE7-FE40-BFD8-0B4D5601F323}" srcOrd="1" destOrd="0" parTransId="{2EB32924-DDAF-1540-BDE0-E456B7A9442F}" sibTransId="{D6307B99-4333-AF4D-BE11-26DE0D3F51A9}"/>
    <dgm:cxn modelId="{F6B7C667-F7D9-AE4C-B15E-F158C7A45FAF}" srcId="{EF6F7FB3-D3E5-4548-BD1E-B72774CF5B92}" destId="{61897AD0-23B2-154C-86D2-E400A5896A0E}" srcOrd="0" destOrd="0" parTransId="{2AFF3A5B-30E9-BF44-86B7-A93B6D95B237}" sibTransId="{EE034AE8-6B16-2D49-88B4-99C48610820A}"/>
    <dgm:cxn modelId="{769C4B4E-24E4-9F41-9608-FE4526AD66F9}" type="presOf" srcId="{3449CA0B-085B-7749-B88D-B2F1CBAE4B99}" destId="{FDEEE735-727B-4C43-89AB-134B242C80FB}" srcOrd="0" destOrd="0" presId="urn:microsoft.com/office/officeart/2005/8/layout/hList1"/>
    <dgm:cxn modelId="{2F823051-3B38-024B-8320-EE4F3C1B0823}" srcId="{4AC71D21-1492-3348-B7A6-5C2BCBD902D5}" destId="{D9559979-0B73-E640-90E8-C442F27E4284}" srcOrd="1" destOrd="0" parTransId="{B8D5AC29-FC6A-B743-B6EF-798C17812C83}" sibTransId="{0E886659-4D9F-D94F-AD11-82CB254D9D56}"/>
    <dgm:cxn modelId="{3BDB6F51-50D3-9647-8E43-D5612CEE571E}" srcId="{80FFFCBF-D80C-E747-9FB3-93483E5A3463}" destId="{55772C64-5BD1-884E-8948-C8C5A62DC605}" srcOrd="1" destOrd="0" parTransId="{D6CB8975-DE2C-0C49-A83C-501FB5DCF132}" sibTransId="{CDC13A5D-607C-9544-A548-798298B476AF}"/>
    <dgm:cxn modelId="{BE905F82-9FCC-004A-A0F6-A9FF26C784DD}" srcId="{EAA399BC-9721-B743-908A-4746BA10215A}" destId="{3F6B1B6C-C2FD-1C47-8097-F4FA7254109B}" srcOrd="1" destOrd="0" parTransId="{813B38D7-AB05-6B4C-8AF3-3347A563928B}" sibTransId="{AE024315-D86F-F54A-AE4D-969E581EC9AB}"/>
    <dgm:cxn modelId="{8939B885-AA08-CC44-98A9-F0D04D593118}" srcId="{EF6F7FB3-D3E5-4548-BD1E-B72774CF5B92}" destId="{2BDD560E-259A-1043-B69F-4E50683D23B4}" srcOrd="1" destOrd="0" parTransId="{AB896C38-77DF-EA4F-951C-9C08278E7A6C}" sibTransId="{F35080B0-4799-6B46-9CCD-695C96AA4106}"/>
    <dgm:cxn modelId="{8C386387-C1D4-1D4F-89C6-8384CD3BA9E1}" type="presOf" srcId="{7F9CA40A-FB21-EB4C-90CE-2B1CFA54D562}" destId="{7186DE0A-A468-F844-8F3D-BC4EBCFEBA62}" srcOrd="0" destOrd="0" presId="urn:microsoft.com/office/officeart/2005/8/layout/hList1"/>
    <dgm:cxn modelId="{5F32F18B-5F24-484F-8086-41258263B521}" srcId="{72BFE7F6-A176-1B47-B070-566F06008D8C}" destId="{77CE68CE-4744-1E48-9CD9-6762BE8CF3E5}" srcOrd="0" destOrd="0" parTransId="{5A2A8D0B-AF86-4B47-BA2A-4A9FCA5112F5}" sibTransId="{B4FF8DBE-ED9B-314D-A9D4-F739EBDA79FA}"/>
    <dgm:cxn modelId="{DD238F8C-01D5-3241-B821-FC71580B2F78}" srcId="{EAA399BC-9721-B743-908A-4746BA10215A}" destId="{419EBB9F-C03F-A740-AC96-D56E80F9FA41}" srcOrd="2" destOrd="0" parTransId="{0505B23F-4979-4A46-B41F-1BB468E4A874}" sibTransId="{A45394D3-70AF-C84C-86C2-14E3CD07E290}"/>
    <dgm:cxn modelId="{77FFF58D-858B-0547-BAD1-616902D27719}" srcId="{4AC71D21-1492-3348-B7A6-5C2BCBD902D5}" destId="{74EEF99F-C04B-464D-AA6E-2ABE3105634C}" srcOrd="2" destOrd="0" parTransId="{68EFC4DF-08A0-FF4E-B77B-D8305E73CB60}" sibTransId="{AB0610CE-253F-7B4E-AF5B-51EFA1DA3176}"/>
    <dgm:cxn modelId="{3DBAD693-BC74-6743-87FB-1D5EF5A6893F}" type="presOf" srcId="{B0C1D075-519D-D541-B411-AA19E2440782}" destId="{C2EE137D-227C-8B41-9CEF-F090A9F97D68}" srcOrd="0" destOrd="2" presId="urn:microsoft.com/office/officeart/2005/8/layout/hList1"/>
    <dgm:cxn modelId="{3626C794-6EC5-E049-BA04-83A85EFD6422}" srcId="{72BFE7F6-A176-1B47-B070-566F06008D8C}" destId="{977BF214-530D-E541-B1C2-2A1FBB2286CD}" srcOrd="3" destOrd="0" parTransId="{256354CA-5B13-944D-9191-EC46D2346C65}" sibTransId="{9E0DD595-6F2F-6341-B7B8-41C7CD55033C}"/>
    <dgm:cxn modelId="{3A050897-5ABB-B34D-B5AC-89D2FF4951A1}" type="presOf" srcId="{D9559979-0B73-E640-90E8-C442F27E4284}" destId="{FDEEE735-727B-4C43-89AB-134B242C80FB}" srcOrd="0" destOrd="1" presId="urn:microsoft.com/office/officeart/2005/8/layout/hList1"/>
    <dgm:cxn modelId="{814C29A0-6C09-4747-8685-2C1D24305930}" type="presOf" srcId="{72BFE7F6-A176-1B47-B070-566F06008D8C}" destId="{6C8C16B2-2954-C647-80EE-0BB68CE5C548}" srcOrd="0" destOrd="0" presId="urn:microsoft.com/office/officeart/2005/8/layout/hList1"/>
    <dgm:cxn modelId="{4E5E23AE-F847-F245-B4D9-A1C962CFFF26}" srcId="{601D3C9A-68CD-1945-ADB7-DA2E05599C5A}" destId="{2FB6C851-BFD2-3B40-A74C-E0990FBE416A}" srcOrd="2" destOrd="0" parTransId="{69ED7902-97D8-9649-A75F-28025A394F19}" sibTransId="{D8C50E35-3552-B448-B86F-D91AA94E1D78}"/>
    <dgm:cxn modelId="{45EA61AF-A35A-2940-92CD-23E49862A05D}" type="presOf" srcId="{EF6F7FB3-D3E5-4548-BD1E-B72774CF5B92}" destId="{F559DA8F-9B70-E042-87E3-BAA2CDF72A58}" srcOrd="0" destOrd="0" presId="urn:microsoft.com/office/officeart/2005/8/layout/hList1"/>
    <dgm:cxn modelId="{83CB9CB0-E72E-874D-9CBA-3C6EAC870F73}" type="presOf" srcId="{0572007E-4073-C647-B20C-6FBBED67E818}" destId="{7186DE0A-A468-F844-8F3D-BC4EBCFEBA62}" srcOrd="0" destOrd="1" presId="urn:microsoft.com/office/officeart/2005/8/layout/hList1"/>
    <dgm:cxn modelId="{DE3174B8-B8B2-AC48-9AB4-80E8937DFB44}" type="presOf" srcId="{61897AD0-23B2-154C-86D2-E400A5896A0E}" destId="{F4029437-CD94-9243-A4E6-230F610E13A7}" srcOrd="0" destOrd="0" presId="urn:microsoft.com/office/officeart/2005/8/layout/hList1"/>
    <dgm:cxn modelId="{789668BE-3D51-284E-9247-5641DB654EEC}" type="presOf" srcId="{55772C64-5BD1-884E-8948-C8C5A62DC605}" destId="{6CF2DC70-6E6F-0441-8D11-4FC560C5011F}" srcOrd="0" destOrd="1" presId="urn:microsoft.com/office/officeart/2005/8/layout/hList1"/>
    <dgm:cxn modelId="{C926C7C9-D26C-EB45-8190-82A256F827A2}" srcId="{601D3C9A-68CD-1945-ADB7-DA2E05599C5A}" destId="{EF6F7FB3-D3E5-4548-BD1E-B72774CF5B92}" srcOrd="1" destOrd="0" parTransId="{45730361-F738-1D4E-A3C5-411A94807EC9}" sibTransId="{3EE142BA-28AD-B148-A13A-EC6787931D89}"/>
    <dgm:cxn modelId="{D73A96D0-6EDE-6A41-9045-29B881487519}" type="presOf" srcId="{419EBB9F-C03F-A740-AC96-D56E80F9FA41}" destId="{2564D77F-41EC-7E4A-A245-9110782AA240}" srcOrd="0" destOrd="2" presId="urn:microsoft.com/office/officeart/2005/8/layout/hList1"/>
    <dgm:cxn modelId="{E526FCD6-C884-6845-85BA-6FBF5C07571C}" type="presOf" srcId="{80FFFCBF-D80C-E747-9FB3-93483E5A3463}" destId="{95CEB0E8-8927-BF43-8014-0266F220DF5D}" srcOrd="0" destOrd="0" presId="urn:microsoft.com/office/officeart/2005/8/layout/hList1"/>
    <dgm:cxn modelId="{FEA611DE-5FEF-F141-A4F0-BDDD9957A3E2}" type="presOf" srcId="{4AC71D21-1492-3348-B7A6-5C2BCBD902D5}" destId="{0E32FB3D-56EA-B24A-9E94-469C9E603473}" srcOrd="0" destOrd="0" presId="urn:microsoft.com/office/officeart/2005/8/layout/hList1"/>
    <dgm:cxn modelId="{8AB1B6DF-A149-EB42-A297-A938F4969B7A}" type="presOf" srcId="{77CE68CE-4744-1E48-9CD9-6762BE8CF3E5}" destId="{C2EE137D-227C-8B41-9CEF-F090A9F97D68}" srcOrd="0" destOrd="0" presId="urn:microsoft.com/office/officeart/2005/8/layout/hList1"/>
    <dgm:cxn modelId="{0A96F4E2-0820-604D-8661-78D462D50E4B}" type="presOf" srcId="{977BF214-530D-E541-B1C2-2A1FBB2286CD}" destId="{C2EE137D-227C-8B41-9CEF-F090A9F97D68}" srcOrd="0" destOrd="3" presId="urn:microsoft.com/office/officeart/2005/8/layout/hList1"/>
    <dgm:cxn modelId="{E8F1C6E3-BD50-2E47-B102-7401C727B357}" srcId="{601D3C9A-68CD-1945-ADB7-DA2E05599C5A}" destId="{4AC71D21-1492-3348-B7A6-5C2BCBD902D5}" srcOrd="4" destOrd="0" parTransId="{9402E8AD-84FA-DD4F-859F-CDEB1436E7F3}" sibTransId="{EBA507D5-0C59-254B-A7F5-1D1427C5D840}"/>
    <dgm:cxn modelId="{910733E4-7DC3-AB45-BB60-EC5C5A340AA2}" srcId="{80FFFCBF-D80C-E747-9FB3-93483E5A3463}" destId="{4DC0EBFF-FB11-7944-B7B9-BEDD77F14730}" srcOrd="0" destOrd="0" parTransId="{8EE52794-94D3-2848-863C-AE17D67CB247}" sibTransId="{22811381-C412-D048-8843-09483837A57F}"/>
    <dgm:cxn modelId="{D1CA85E7-3137-7F44-8F2A-D0E48A007E49}" type="presOf" srcId="{43F2E7D0-3E74-B845-BE41-42DB0FACEA8B}" destId="{C2EE137D-227C-8B41-9CEF-F090A9F97D68}" srcOrd="0" destOrd="4" presId="urn:microsoft.com/office/officeart/2005/8/layout/hList1"/>
    <dgm:cxn modelId="{D39492EB-3035-754B-8D64-1AE51287BD5E}" srcId="{601D3C9A-68CD-1945-ADB7-DA2E05599C5A}" destId="{80FFFCBF-D80C-E747-9FB3-93483E5A3463}" srcOrd="5" destOrd="0" parTransId="{FA0FC2D7-8BF9-8640-90C1-8FE764979180}" sibTransId="{B631F706-114F-6B4B-B377-0D22CADAC5BE}"/>
    <dgm:cxn modelId="{7A7808F7-036D-E14B-BF51-437DF1337C4F}" srcId="{72BFE7F6-A176-1B47-B070-566F06008D8C}" destId="{43F2E7D0-3E74-B845-BE41-42DB0FACEA8B}" srcOrd="4" destOrd="0" parTransId="{675EC152-EC54-6743-92F6-22A4CD25A76D}" sibTransId="{DCF8342D-5DEC-5B46-9FB0-F38922BDD4C8}"/>
    <dgm:cxn modelId="{26F15B3B-6FA4-DF42-8BEB-8F2844D9AA6B}" type="presParOf" srcId="{A0ED3AAA-DC34-4245-958B-1C17AB663406}" destId="{B0D320FC-2E80-9243-9808-8FFF28CC6DAB}" srcOrd="0" destOrd="0" presId="urn:microsoft.com/office/officeart/2005/8/layout/hList1"/>
    <dgm:cxn modelId="{7D23E1E9-4379-A145-9BAA-ADD3237ABA4E}" type="presParOf" srcId="{B0D320FC-2E80-9243-9808-8FFF28CC6DAB}" destId="{6C8C16B2-2954-C647-80EE-0BB68CE5C548}" srcOrd="0" destOrd="0" presId="urn:microsoft.com/office/officeart/2005/8/layout/hList1"/>
    <dgm:cxn modelId="{742CCAC1-1E6F-BE4E-BFFF-E21039508625}" type="presParOf" srcId="{B0D320FC-2E80-9243-9808-8FFF28CC6DAB}" destId="{C2EE137D-227C-8B41-9CEF-F090A9F97D68}" srcOrd="1" destOrd="0" presId="urn:microsoft.com/office/officeart/2005/8/layout/hList1"/>
    <dgm:cxn modelId="{2CDD8F12-BFEF-5C44-A282-5AB84183E091}" type="presParOf" srcId="{A0ED3AAA-DC34-4245-958B-1C17AB663406}" destId="{A2464513-277E-0947-AAEF-04F6AE2F20A4}" srcOrd="1" destOrd="0" presId="urn:microsoft.com/office/officeart/2005/8/layout/hList1"/>
    <dgm:cxn modelId="{27DB31B9-E2CC-F444-9FEA-5C0A00D6CE2E}" type="presParOf" srcId="{A0ED3AAA-DC34-4245-958B-1C17AB663406}" destId="{69D527AC-4091-1346-A593-21DCC20F4CD2}" srcOrd="2" destOrd="0" presId="urn:microsoft.com/office/officeart/2005/8/layout/hList1"/>
    <dgm:cxn modelId="{D644F67B-A30C-DA44-AE4E-0828F2793C72}" type="presParOf" srcId="{69D527AC-4091-1346-A593-21DCC20F4CD2}" destId="{F559DA8F-9B70-E042-87E3-BAA2CDF72A58}" srcOrd="0" destOrd="0" presId="urn:microsoft.com/office/officeart/2005/8/layout/hList1"/>
    <dgm:cxn modelId="{5C71BC52-BA5A-F447-A1FB-54F97D8A1471}" type="presParOf" srcId="{69D527AC-4091-1346-A593-21DCC20F4CD2}" destId="{F4029437-CD94-9243-A4E6-230F610E13A7}" srcOrd="1" destOrd="0" presId="urn:microsoft.com/office/officeart/2005/8/layout/hList1"/>
    <dgm:cxn modelId="{A38255A0-0F21-9B4E-A4BA-68EBFB8AE28D}" type="presParOf" srcId="{A0ED3AAA-DC34-4245-958B-1C17AB663406}" destId="{11938A7F-2459-F64D-895E-B6AD2A84019D}" srcOrd="3" destOrd="0" presId="urn:microsoft.com/office/officeart/2005/8/layout/hList1"/>
    <dgm:cxn modelId="{0D6E30A7-A566-9B41-9191-83E96569B5FB}" type="presParOf" srcId="{A0ED3AAA-DC34-4245-958B-1C17AB663406}" destId="{2951423E-C911-9B43-ADFF-461A2AFE3377}" srcOrd="4" destOrd="0" presId="urn:microsoft.com/office/officeart/2005/8/layout/hList1"/>
    <dgm:cxn modelId="{8844B4FD-8CC7-CB45-AD43-816E68850364}" type="presParOf" srcId="{2951423E-C911-9B43-ADFF-461A2AFE3377}" destId="{8676B8BF-5D93-364A-B177-E7FD628083CA}" srcOrd="0" destOrd="0" presId="urn:microsoft.com/office/officeart/2005/8/layout/hList1"/>
    <dgm:cxn modelId="{A22EC359-DDC2-6547-9D3A-1D94DC626AC9}" type="presParOf" srcId="{2951423E-C911-9B43-ADFF-461A2AFE3377}" destId="{7186DE0A-A468-F844-8F3D-BC4EBCFEBA62}" srcOrd="1" destOrd="0" presId="urn:microsoft.com/office/officeart/2005/8/layout/hList1"/>
    <dgm:cxn modelId="{41C1E68A-4728-B048-AB05-753CB671C52A}" type="presParOf" srcId="{A0ED3AAA-DC34-4245-958B-1C17AB663406}" destId="{3AC3ACB8-807E-604C-8E3A-3CD69377C72A}" srcOrd="5" destOrd="0" presId="urn:microsoft.com/office/officeart/2005/8/layout/hList1"/>
    <dgm:cxn modelId="{FC26FC8D-D2E7-FB4A-B6FA-9418DECC2EB2}" type="presParOf" srcId="{A0ED3AAA-DC34-4245-958B-1C17AB663406}" destId="{95B24CD4-4F2F-AE4E-BB09-A3D301E9DD1F}" srcOrd="6" destOrd="0" presId="urn:microsoft.com/office/officeart/2005/8/layout/hList1"/>
    <dgm:cxn modelId="{13F8A35A-7E6A-6D49-97F5-744634F510F0}" type="presParOf" srcId="{95B24CD4-4F2F-AE4E-BB09-A3D301E9DD1F}" destId="{0F2E45FF-7FE9-FF49-8DB5-095D84C0F1B7}" srcOrd="0" destOrd="0" presId="urn:microsoft.com/office/officeart/2005/8/layout/hList1"/>
    <dgm:cxn modelId="{98DF372C-0A25-C44B-80F4-801DCA4A3277}" type="presParOf" srcId="{95B24CD4-4F2F-AE4E-BB09-A3D301E9DD1F}" destId="{2564D77F-41EC-7E4A-A245-9110782AA240}" srcOrd="1" destOrd="0" presId="urn:microsoft.com/office/officeart/2005/8/layout/hList1"/>
    <dgm:cxn modelId="{7EC1BE33-09DC-C644-B9DE-3476C2193269}" type="presParOf" srcId="{A0ED3AAA-DC34-4245-958B-1C17AB663406}" destId="{9C501F13-EA3C-4147-AD30-2F4EFBDDBF6D}" srcOrd="7" destOrd="0" presId="urn:microsoft.com/office/officeart/2005/8/layout/hList1"/>
    <dgm:cxn modelId="{4E3CE64F-8BC8-EA4D-81CC-1AEA6FBFFEE1}" type="presParOf" srcId="{A0ED3AAA-DC34-4245-958B-1C17AB663406}" destId="{327C4128-FFE2-EA43-9A30-3D5C39C803F1}" srcOrd="8" destOrd="0" presId="urn:microsoft.com/office/officeart/2005/8/layout/hList1"/>
    <dgm:cxn modelId="{EAD872FA-5FFB-3847-B6EB-F658707A1371}" type="presParOf" srcId="{327C4128-FFE2-EA43-9A30-3D5C39C803F1}" destId="{0E32FB3D-56EA-B24A-9E94-469C9E603473}" srcOrd="0" destOrd="0" presId="urn:microsoft.com/office/officeart/2005/8/layout/hList1"/>
    <dgm:cxn modelId="{BDD25EB3-A986-2146-A8BF-C0D00B80200F}" type="presParOf" srcId="{327C4128-FFE2-EA43-9A30-3D5C39C803F1}" destId="{FDEEE735-727B-4C43-89AB-134B242C80FB}" srcOrd="1" destOrd="0" presId="urn:microsoft.com/office/officeart/2005/8/layout/hList1"/>
    <dgm:cxn modelId="{13CE9D1E-DFCC-0449-B3BF-7114872462E2}" type="presParOf" srcId="{A0ED3AAA-DC34-4245-958B-1C17AB663406}" destId="{8CBF199C-592F-AD4C-BCD1-0F445E6DC00D}" srcOrd="9" destOrd="0" presId="urn:microsoft.com/office/officeart/2005/8/layout/hList1"/>
    <dgm:cxn modelId="{EEDFA957-DC95-2A4E-8B33-3670A0AE773B}" type="presParOf" srcId="{A0ED3AAA-DC34-4245-958B-1C17AB663406}" destId="{24137B87-3789-D844-8C6A-C051303B27EA}" srcOrd="10" destOrd="0" presId="urn:microsoft.com/office/officeart/2005/8/layout/hList1"/>
    <dgm:cxn modelId="{A9BE80EE-DC26-DC4A-80FF-3EC7ACE6B478}" type="presParOf" srcId="{24137B87-3789-D844-8C6A-C051303B27EA}" destId="{95CEB0E8-8927-BF43-8014-0266F220DF5D}" srcOrd="0" destOrd="0" presId="urn:microsoft.com/office/officeart/2005/8/layout/hList1"/>
    <dgm:cxn modelId="{D449B303-3668-B94D-81FD-358B074D11F1}" type="presParOf" srcId="{24137B87-3789-D844-8C6A-C051303B27EA}" destId="{6CF2DC70-6E6F-0441-8D11-4FC560C5011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9DA8F-9B70-E042-87E3-BAA2CDF72A58}">
      <dsp:nvSpPr>
        <dsp:cNvPr id="0" name=""/>
        <dsp:cNvSpPr/>
      </dsp:nvSpPr>
      <dsp:spPr>
        <a:xfrm>
          <a:off x="4482"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tract</a:t>
          </a:r>
        </a:p>
      </dsp:txBody>
      <dsp:txXfrm>
        <a:off x="4482" y="1073971"/>
        <a:ext cx="2695428" cy="806400"/>
      </dsp:txXfrm>
    </dsp:sp>
    <dsp:sp modelId="{F4029437-CD94-9243-A4E6-230F610E13A7}">
      <dsp:nvSpPr>
        <dsp:cNvPr id="0" name=""/>
        <dsp:cNvSpPr/>
      </dsp:nvSpPr>
      <dsp:spPr>
        <a:xfrm>
          <a:off x="4482"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Pass the application name and the workflow name as arguments</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1:1 relationship between contracts and config files </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Name matching required</a:t>
          </a:r>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4482" y="1880371"/>
        <a:ext cx="2695428" cy="2464323"/>
      </dsp:txXfrm>
    </dsp:sp>
    <dsp:sp modelId="{8676B8BF-5D93-364A-B177-E7FD628083CA}">
      <dsp:nvSpPr>
        <dsp:cNvPr id="0" name=""/>
        <dsp:cNvSpPr/>
      </dsp:nvSpPr>
      <dsp:spPr>
        <a:xfrm>
          <a:off x="3077271"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State Variables</a:t>
          </a:r>
        </a:p>
      </dsp:txBody>
      <dsp:txXfrm>
        <a:off x="3077271" y="1073971"/>
        <a:ext cx="2695428" cy="806400"/>
      </dsp:txXfrm>
    </dsp:sp>
    <dsp:sp modelId="{7186DE0A-A468-F844-8F3D-BC4EBCFEBA62}">
      <dsp:nvSpPr>
        <dsp:cNvPr id="0" name=""/>
        <dsp:cNvSpPr/>
      </dsp:nvSpPr>
      <dsp:spPr>
        <a:xfrm>
          <a:off x="3077271"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State variables store values of the state for each contract instance</a:t>
          </a:r>
          <a:br>
            <a:rPr lang="en-US" sz="1200" kern="1200" dirty="0"/>
          </a:br>
          <a:endParaRPr lang="en-US" sz="1200" kern="1200" dirty="0"/>
        </a:p>
        <a:p>
          <a:pPr marL="114300" lvl="1" indent="-114300" algn="l" defTabSz="533400">
            <a:lnSpc>
              <a:spcPct val="90000"/>
            </a:lnSpc>
            <a:spcBef>
              <a:spcPct val="0"/>
            </a:spcBef>
            <a:spcAft>
              <a:spcPct val="15000"/>
            </a:spcAft>
            <a:buChar char="•"/>
          </a:pPr>
          <a:r>
            <a:rPr lang="en-US" sz="1200" kern="1200" dirty="0"/>
            <a:t>The state variables in your contract must match the workflow properties defined in the configuration file</a:t>
          </a:r>
        </a:p>
      </dsp:txBody>
      <dsp:txXfrm>
        <a:off x="3077271" y="1880371"/>
        <a:ext cx="2695428" cy="2464323"/>
      </dsp:txXfrm>
    </dsp:sp>
    <dsp:sp modelId="{0F2E45FF-7FE9-FF49-8DB5-095D84C0F1B7}">
      <dsp:nvSpPr>
        <dsp:cNvPr id="0" name=""/>
        <dsp:cNvSpPr/>
      </dsp:nvSpPr>
      <dsp:spPr>
        <a:xfrm>
          <a:off x="6150060"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structor</a:t>
          </a:r>
        </a:p>
      </dsp:txBody>
      <dsp:txXfrm>
        <a:off x="6150060" y="1073971"/>
        <a:ext cx="2695428" cy="806400"/>
      </dsp:txXfrm>
    </dsp:sp>
    <dsp:sp modelId="{2564D77F-41EC-7E4A-A245-9110782AA240}">
      <dsp:nvSpPr>
        <dsp:cNvPr id="0" name=""/>
        <dsp:cNvSpPr/>
      </dsp:nvSpPr>
      <dsp:spPr>
        <a:xfrm>
          <a:off x="6150060"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constructor defines input parameters for a new smart contract instance of a workflow</a:t>
          </a:r>
        </a:p>
        <a:p>
          <a:pPr marL="114300" lvl="1" indent="-114300" algn="l" defTabSz="533400">
            <a:lnSpc>
              <a:spcPct val="90000"/>
            </a:lnSpc>
            <a:spcBef>
              <a:spcPct val="0"/>
            </a:spcBef>
            <a:spcAft>
              <a:spcPct val="15000"/>
            </a:spcAft>
            <a:buChar char="•"/>
          </a:pPr>
          <a:r>
            <a:rPr lang="en-US" sz="1200" kern="1200" dirty="0"/>
            <a:t>The constructor is declared as a function with the same name as the contract</a:t>
          </a:r>
        </a:p>
        <a:p>
          <a:pPr marL="114300" lvl="1" indent="-114300" algn="l" defTabSz="533400">
            <a:lnSpc>
              <a:spcPct val="90000"/>
            </a:lnSpc>
            <a:spcBef>
              <a:spcPct val="0"/>
            </a:spcBef>
            <a:spcAft>
              <a:spcPct val="15000"/>
            </a:spcAft>
            <a:buChar char="•"/>
          </a:pPr>
          <a:r>
            <a:rPr lang="en-US" sz="1200" kern="1200" dirty="0"/>
            <a:t>Required parameters for the constructor are defined as constructor parameters in the configuration file </a:t>
          </a:r>
        </a:p>
        <a:p>
          <a:pPr marL="114300" lvl="1" indent="-114300" algn="l" defTabSz="533400">
            <a:lnSpc>
              <a:spcPct val="90000"/>
            </a:lnSpc>
            <a:spcBef>
              <a:spcPct val="0"/>
            </a:spcBef>
            <a:spcAft>
              <a:spcPct val="15000"/>
            </a:spcAft>
            <a:buChar char="•"/>
          </a:pPr>
          <a:r>
            <a:rPr lang="en-US" sz="1200" kern="1200" dirty="0"/>
            <a:t>The number, order, and type of parameters must match in both files.</a:t>
          </a:r>
        </a:p>
      </dsp:txBody>
      <dsp:txXfrm>
        <a:off x="6150060" y="1880371"/>
        <a:ext cx="2695428" cy="2464323"/>
      </dsp:txXfrm>
    </dsp:sp>
    <dsp:sp modelId="{0E32FB3D-56EA-B24A-9E94-469C9E603473}">
      <dsp:nvSpPr>
        <dsp:cNvPr id="0" name=""/>
        <dsp:cNvSpPr/>
      </dsp:nvSpPr>
      <dsp:spPr>
        <a:xfrm>
          <a:off x="9222848"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Functions</a:t>
          </a:r>
        </a:p>
      </dsp:txBody>
      <dsp:txXfrm>
        <a:off x="9222848" y="1073971"/>
        <a:ext cx="2695428" cy="806400"/>
      </dsp:txXfrm>
    </dsp:sp>
    <dsp:sp modelId="{FDEEE735-727B-4C43-89AB-134B242C80FB}">
      <dsp:nvSpPr>
        <dsp:cNvPr id="0" name=""/>
        <dsp:cNvSpPr/>
      </dsp:nvSpPr>
      <dsp:spPr>
        <a:xfrm>
          <a:off x="9222848"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b="0" i="0" u="none" kern="1200" dirty="0"/>
            <a:t>Functions are the executable units of business logic within a contract</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Required parameters for the function are defined as function parameters in the configuration file</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The number, order, and type of parameters must match in both files. </a:t>
          </a:r>
          <a:endParaRPr lang="en-US" sz="1200" kern="1200" dirty="0"/>
        </a:p>
      </dsp:txBody>
      <dsp:txXfrm>
        <a:off x="9222848" y="1880371"/>
        <a:ext cx="2695428" cy="24643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8C16B2-2954-C647-80EE-0BB68CE5C548}">
      <dsp:nvSpPr>
        <dsp:cNvPr id="0" name=""/>
        <dsp:cNvSpPr/>
      </dsp:nvSpPr>
      <dsp:spPr>
        <a:xfrm>
          <a:off x="334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Application Roles</a:t>
          </a:r>
        </a:p>
      </dsp:txBody>
      <dsp:txXfrm>
        <a:off x="3347" y="627223"/>
        <a:ext cx="1778517" cy="699343"/>
      </dsp:txXfrm>
    </dsp:sp>
    <dsp:sp modelId="{C2EE137D-227C-8B41-9CEF-F090A9F97D68}">
      <dsp:nvSpPr>
        <dsp:cNvPr id="0" name=""/>
        <dsp:cNvSpPr/>
      </dsp:nvSpPr>
      <dsp:spPr>
        <a:xfrm>
          <a:off x="334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Based on Persona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Linked to security groups in Azure Active Directory</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Initiators start the workflow proces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Participants modify workflow data</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Observers have read-only access</a:t>
          </a:r>
        </a:p>
      </dsp:txBody>
      <dsp:txXfrm>
        <a:off x="3347" y="1326567"/>
        <a:ext cx="1778517" cy="3464876"/>
      </dsp:txXfrm>
    </dsp:sp>
    <dsp:sp modelId="{F559DA8F-9B70-E042-87E3-BAA2CDF72A58}">
      <dsp:nvSpPr>
        <dsp:cNvPr id="0" name=""/>
        <dsp:cNvSpPr/>
      </dsp:nvSpPr>
      <dsp:spPr>
        <a:xfrm>
          <a:off x="203085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Workflow</a:t>
          </a:r>
        </a:p>
      </dsp:txBody>
      <dsp:txXfrm>
        <a:off x="2030857" y="627223"/>
        <a:ext cx="1778517" cy="699343"/>
      </dsp:txXfrm>
    </dsp:sp>
    <dsp:sp modelId="{F4029437-CD94-9243-A4E6-230F610E13A7}">
      <dsp:nvSpPr>
        <dsp:cNvPr id="0" name=""/>
        <dsp:cNvSpPr/>
      </dsp:nvSpPr>
      <dsp:spPr>
        <a:xfrm>
          <a:off x="203085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llection of states and actions that models application business logic as a state machine</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Each workflow consists of one or more smart contracts, which represent the business logic in code files.</a:t>
          </a:r>
        </a:p>
      </dsp:txBody>
      <dsp:txXfrm>
        <a:off x="2030857" y="1326567"/>
        <a:ext cx="1778517" cy="3464876"/>
      </dsp:txXfrm>
    </dsp:sp>
    <dsp:sp modelId="{8676B8BF-5D93-364A-B177-E7FD628083CA}">
      <dsp:nvSpPr>
        <dsp:cNvPr id="0" name=""/>
        <dsp:cNvSpPr/>
      </dsp:nvSpPr>
      <dsp:spPr>
        <a:xfrm>
          <a:off x="405836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onstructor</a:t>
          </a:r>
        </a:p>
      </dsp:txBody>
      <dsp:txXfrm>
        <a:off x="4058366" y="627223"/>
        <a:ext cx="1778517" cy="699343"/>
      </dsp:txXfrm>
    </dsp:sp>
    <dsp:sp modelId="{7186DE0A-A468-F844-8F3D-BC4EBCFEBA62}">
      <dsp:nvSpPr>
        <dsp:cNvPr id="0" name=""/>
        <dsp:cNvSpPr/>
      </dsp:nvSpPr>
      <dsp:spPr>
        <a:xfrm>
          <a:off x="405836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input parameters for an instance of a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Parameters column of the chart on the previous slide</a:t>
          </a:r>
        </a:p>
      </dsp:txBody>
      <dsp:txXfrm>
        <a:off x="4058366" y="1326567"/>
        <a:ext cx="1778517" cy="3464876"/>
      </dsp:txXfrm>
    </dsp:sp>
    <dsp:sp modelId="{0F2E45FF-7FE9-FF49-8DB5-095D84C0F1B7}">
      <dsp:nvSpPr>
        <dsp:cNvPr id="0" name=""/>
        <dsp:cNvSpPr/>
      </dsp:nvSpPr>
      <dsp:spPr>
        <a:xfrm>
          <a:off x="608587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Functions</a:t>
          </a:r>
        </a:p>
      </dsp:txBody>
      <dsp:txXfrm>
        <a:off x="6085876" y="627223"/>
        <a:ext cx="1778517" cy="699343"/>
      </dsp:txXfrm>
    </dsp:sp>
    <dsp:sp modelId="{2564D77F-41EC-7E4A-A245-9110782AA240}">
      <dsp:nvSpPr>
        <dsp:cNvPr id="0" name=""/>
        <dsp:cNvSpPr/>
      </dsp:nvSpPr>
      <dsp:spPr>
        <a:xfrm>
          <a:off x="608587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functions that can be executed on the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The corresponding smart contract must use the same Name for the applicable function</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Available Actions on the previous slide</a:t>
          </a:r>
        </a:p>
      </dsp:txBody>
      <dsp:txXfrm>
        <a:off x="6085876" y="1326567"/>
        <a:ext cx="1778517" cy="3464876"/>
      </dsp:txXfrm>
    </dsp:sp>
    <dsp:sp modelId="{0E32FB3D-56EA-B24A-9E94-469C9E603473}">
      <dsp:nvSpPr>
        <dsp:cNvPr id="0" name=""/>
        <dsp:cNvSpPr/>
      </dsp:nvSpPr>
      <dsp:spPr>
        <a:xfrm>
          <a:off x="811338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tates</a:t>
          </a:r>
        </a:p>
      </dsp:txBody>
      <dsp:txXfrm>
        <a:off x="8113385" y="627223"/>
        <a:ext cx="1778517" cy="699343"/>
      </dsp:txXfrm>
    </dsp:sp>
    <dsp:sp modelId="{FDEEE735-727B-4C43-89AB-134B242C80FB}">
      <dsp:nvSpPr>
        <dsp:cNvPr id="0" name=""/>
        <dsp:cNvSpPr/>
      </dsp:nvSpPr>
      <dsp:spPr>
        <a:xfrm>
          <a:off x="811338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States that define the status within the workflow</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current state and target state columns on the previous slide</a:t>
          </a:r>
        </a:p>
        <a:p>
          <a:pPr marL="171450" lvl="1" indent="-171450" algn="l" defTabSz="844550">
            <a:lnSpc>
              <a:spcPct val="90000"/>
            </a:lnSpc>
            <a:spcBef>
              <a:spcPct val="0"/>
            </a:spcBef>
            <a:spcAft>
              <a:spcPct val="15000"/>
            </a:spcAft>
            <a:buChar char="•"/>
          </a:pPr>
          <a:endParaRPr lang="en-US" sz="1900" kern="1200" dirty="0"/>
        </a:p>
      </dsp:txBody>
      <dsp:txXfrm>
        <a:off x="8113385" y="1326567"/>
        <a:ext cx="1778517" cy="3464876"/>
      </dsp:txXfrm>
    </dsp:sp>
    <dsp:sp modelId="{95CEB0E8-8927-BF43-8014-0266F220DF5D}">
      <dsp:nvSpPr>
        <dsp:cNvPr id="0" name=""/>
        <dsp:cNvSpPr/>
      </dsp:nvSpPr>
      <dsp:spPr>
        <a:xfrm>
          <a:off x="1014089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ransitions</a:t>
          </a:r>
        </a:p>
      </dsp:txBody>
      <dsp:txXfrm>
        <a:off x="10140895" y="627223"/>
        <a:ext cx="1778517" cy="699343"/>
      </dsp:txXfrm>
    </dsp:sp>
    <dsp:sp modelId="{6CF2DC70-6E6F-0441-8D11-4FC560C5011F}">
      <dsp:nvSpPr>
        <dsp:cNvPr id="0" name=""/>
        <dsp:cNvSpPr/>
      </dsp:nvSpPr>
      <dsp:spPr>
        <a:xfrm>
          <a:off x="1014089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Available actions to the next state</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b="0" i="0" u="none" kern="1200" dirty="0"/>
            <a:t>One or more user roles may perform an action at each state, where an action may transition a state to another state in the workflow</a:t>
          </a:r>
          <a:endParaRPr lang="en-US" sz="1400" kern="1200" dirty="0"/>
        </a:p>
      </dsp:txBody>
      <dsp:txXfrm>
        <a:off x="10140895" y="1326567"/>
        <a:ext cx="1778517" cy="34648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9DA8F-9B70-E042-87E3-BAA2CDF72A58}">
      <dsp:nvSpPr>
        <dsp:cNvPr id="0" name=""/>
        <dsp:cNvSpPr/>
      </dsp:nvSpPr>
      <dsp:spPr>
        <a:xfrm>
          <a:off x="4482"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tract</a:t>
          </a:r>
        </a:p>
      </dsp:txBody>
      <dsp:txXfrm>
        <a:off x="4482" y="1073971"/>
        <a:ext cx="2695428" cy="806400"/>
      </dsp:txXfrm>
    </dsp:sp>
    <dsp:sp modelId="{F4029437-CD94-9243-A4E6-230F610E13A7}">
      <dsp:nvSpPr>
        <dsp:cNvPr id="0" name=""/>
        <dsp:cNvSpPr/>
      </dsp:nvSpPr>
      <dsp:spPr>
        <a:xfrm>
          <a:off x="4482"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Pass the application name and the workflow name as arguments</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1:1 relationship between contracts and config files </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Name matching required</a:t>
          </a:r>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4482" y="1880371"/>
        <a:ext cx="2695428" cy="2464323"/>
      </dsp:txXfrm>
    </dsp:sp>
    <dsp:sp modelId="{8676B8BF-5D93-364A-B177-E7FD628083CA}">
      <dsp:nvSpPr>
        <dsp:cNvPr id="0" name=""/>
        <dsp:cNvSpPr/>
      </dsp:nvSpPr>
      <dsp:spPr>
        <a:xfrm>
          <a:off x="3077271"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State Variables</a:t>
          </a:r>
        </a:p>
      </dsp:txBody>
      <dsp:txXfrm>
        <a:off x="3077271" y="1073971"/>
        <a:ext cx="2695428" cy="806400"/>
      </dsp:txXfrm>
    </dsp:sp>
    <dsp:sp modelId="{7186DE0A-A468-F844-8F3D-BC4EBCFEBA62}">
      <dsp:nvSpPr>
        <dsp:cNvPr id="0" name=""/>
        <dsp:cNvSpPr/>
      </dsp:nvSpPr>
      <dsp:spPr>
        <a:xfrm>
          <a:off x="3077271"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State variables store values of the state for each contract instance</a:t>
          </a:r>
          <a:br>
            <a:rPr lang="en-US" sz="1200" kern="1200" dirty="0"/>
          </a:br>
          <a:endParaRPr lang="en-US" sz="1200" kern="1200" dirty="0"/>
        </a:p>
        <a:p>
          <a:pPr marL="114300" lvl="1" indent="-114300" algn="l" defTabSz="533400">
            <a:lnSpc>
              <a:spcPct val="90000"/>
            </a:lnSpc>
            <a:spcBef>
              <a:spcPct val="0"/>
            </a:spcBef>
            <a:spcAft>
              <a:spcPct val="15000"/>
            </a:spcAft>
            <a:buChar char="•"/>
          </a:pPr>
          <a:r>
            <a:rPr lang="en-US" sz="1200" kern="1200" dirty="0"/>
            <a:t>The state variables in your contract must match the workflow properties defined in the configuration file</a:t>
          </a:r>
        </a:p>
      </dsp:txBody>
      <dsp:txXfrm>
        <a:off x="3077271" y="1880371"/>
        <a:ext cx="2695428" cy="2464323"/>
      </dsp:txXfrm>
    </dsp:sp>
    <dsp:sp modelId="{0F2E45FF-7FE9-FF49-8DB5-095D84C0F1B7}">
      <dsp:nvSpPr>
        <dsp:cNvPr id="0" name=""/>
        <dsp:cNvSpPr/>
      </dsp:nvSpPr>
      <dsp:spPr>
        <a:xfrm>
          <a:off x="6150060"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structor</a:t>
          </a:r>
        </a:p>
      </dsp:txBody>
      <dsp:txXfrm>
        <a:off x="6150060" y="1073971"/>
        <a:ext cx="2695428" cy="806400"/>
      </dsp:txXfrm>
    </dsp:sp>
    <dsp:sp modelId="{2564D77F-41EC-7E4A-A245-9110782AA240}">
      <dsp:nvSpPr>
        <dsp:cNvPr id="0" name=""/>
        <dsp:cNvSpPr/>
      </dsp:nvSpPr>
      <dsp:spPr>
        <a:xfrm>
          <a:off x="6150060"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constructor defines input parameters for a new smart contract instance of a workflow</a:t>
          </a:r>
        </a:p>
        <a:p>
          <a:pPr marL="114300" lvl="1" indent="-114300" algn="l" defTabSz="533400">
            <a:lnSpc>
              <a:spcPct val="90000"/>
            </a:lnSpc>
            <a:spcBef>
              <a:spcPct val="0"/>
            </a:spcBef>
            <a:spcAft>
              <a:spcPct val="15000"/>
            </a:spcAft>
            <a:buChar char="•"/>
          </a:pPr>
          <a:r>
            <a:rPr lang="en-US" sz="1200" kern="1200" dirty="0"/>
            <a:t>The constructor is declared as a function with the same name as the contract</a:t>
          </a:r>
        </a:p>
        <a:p>
          <a:pPr marL="114300" lvl="1" indent="-114300" algn="l" defTabSz="533400">
            <a:lnSpc>
              <a:spcPct val="90000"/>
            </a:lnSpc>
            <a:spcBef>
              <a:spcPct val="0"/>
            </a:spcBef>
            <a:spcAft>
              <a:spcPct val="15000"/>
            </a:spcAft>
            <a:buChar char="•"/>
          </a:pPr>
          <a:r>
            <a:rPr lang="en-US" sz="1200" kern="1200" dirty="0"/>
            <a:t>Required parameters for the constructor are defined as constructor parameters in the configuration file </a:t>
          </a:r>
        </a:p>
        <a:p>
          <a:pPr marL="114300" lvl="1" indent="-114300" algn="l" defTabSz="533400">
            <a:lnSpc>
              <a:spcPct val="90000"/>
            </a:lnSpc>
            <a:spcBef>
              <a:spcPct val="0"/>
            </a:spcBef>
            <a:spcAft>
              <a:spcPct val="15000"/>
            </a:spcAft>
            <a:buChar char="•"/>
          </a:pPr>
          <a:r>
            <a:rPr lang="en-US" sz="1200" kern="1200" dirty="0"/>
            <a:t>The number, order, and type of parameters must match in both files.</a:t>
          </a:r>
        </a:p>
      </dsp:txBody>
      <dsp:txXfrm>
        <a:off x="6150060" y="1880371"/>
        <a:ext cx="2695428" cy="2464323"/>
      </dsp:txXfrm>
    </dsp:sp>
    <dsp:sp modelId="{0E32FB3D-56EA-B24A-9E94-469C9E603473}">
      <dsp:nvSpPr>
        <dsp:cNvPr id="0" name=""/>
        <dsp:cNvSpPr/>
      </dsp:nvSpPr>
      <dsp:spPr>
        <a:xfrm>
          <a:off x="9222848"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Functions</a:t>
          </a:r>
        </a:p>
      </dsp:txBody>
      <dsp:txXfrm>
        <a:off x="9222848" y="1073971"/>
        <a:ext cx="2695428" cy="806400"/>
      </dsp:txXfrm>
    </dsp:sp>
    <dsp:sp modelId="{FDEEE735-727B-4C43-89AB-134B242C80FB}">
      <dsp:nvSpPr>
        <dsp:cNvPr id="0" name=""/>
        <dsp:cNvSpPr/>
      </dsp:nvSpPr>
      <dsp:spPr>
        <a:xfrm>
          <a:off x="9222848"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b="0" i="0" u="none" kern="1200" dirty="0"/>
            <a:t>Functions are the executable units of business logic within a contract</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Required parameters for the function are defined as function parameters in the configuration file</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The number, order, and type of parameters must match in both files. </a:t>
          </a:r>
          <a:endParaRPr lang="en-US" sz="1200" kern="1200" dirty="0"/>
        </a:p>
      </dsp:txBody>
      <dsp:txXfrm>
        <a:off x="9222848" y="1880371"/>
        <a:ext cx="2695428" cy="24643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8C16B2-2954-C647-80EE-0BB68CE5C548}">
      <dsp:nvSpPr>
        <dsp:cNvPr id="0" name=""/>
        <dsp:cNvSpPr/>
      </dsp:nvSpPr>
      <dsp:spPr>
        <a:xfrm>
          <a:off x="334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Application Roles</a:t>
          </a:r>
        </a:p>
      </dsp:txBody>
      <dsp:txXfrm>
        <a:off x="3347" y="627223"/>
        <a:ext cx="1778517" cy="699343"/>
      </dsp:txXfrm>
    </dsp:sp>
    <dsp:sp modelId="{C2EE137D-227C-8B41-9CEF-F090A9F97D68}">
      <dsp:nvSpPr>
        <dsp:cNvPr id="0" name=""/>
        <dsp:cNvSpPr/>
      </dsp:nvSpPr>
      <dsp:spPr>
        <a:xfrm>
          <a:off x="334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Based on Persona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Linked to security groups in Azure Active Directory</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Initiators start the workflow proces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Participants modify workflow data</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Observers have read-only access</a:t>
          </a:r>
        </a:p>
      </dsp:txBody>
      <dsp:txXfrm>
        <a:off x="3347" y="1326567"/>
        <a:ext cx="1778517" cy="3464876"/>
      </dsp:txXfrm>
    </dsp:sp>
    <dsp:sp modelId="{F559DA8F-9B70-E042-87E3-BAA2CDF72A58}">
      <dsp:nvSpPr>
        <dsp:cNvPr id="0" name=""/>
        <dsp:cNvSpPr/>
      </dsp:nvSpPr>
      <dsp:spPr>
        <a:xfrm>
          <a:off x="203085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Workflow</a:t>
          </a:r>
        </a:p>
      </dsp:txBody>
      <dsp:txXfrm>
        <a:off x="2030857" y="627223"/>
        <a:ext cx="1778517" cy="699343"/>
      </dsp:txXfrm>
    </dsp:sp>
    <dsp:sp modelId="{F4029437-CD94-9243-A4E6-230F610E13A7}">
      <dsp:nvSpPr>
        <dsp:cNvPr id="0" name=""/>
        <dsp:cNvSpPr/>
      </dsp:nvSpPr>
      <dsp:spPr>
        <a:xfrm>
          <a:off x="203085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llection of states and actions that models application business logic as a state machine</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Each workflow consists of one or more smart contracts, which represent the business logic in code files.</a:t>
          </a:r>
        </a:p>
      </dsp:txBody>
      <dsp:txXfrm>
        <a:off x="2030857" y="1326567"/>
        <a:ext cx="1778517" cy="3464876"/>
      </dsp:txXfrm>
    </dsp:sp>
    <dsp:sp modelId="{8676B8BF-5D93-364A-B177-E7FD628083CA}">
      <dsp:nvSpPr>
        <dsp:cNvPr id="0" name=""/>
        <dsp:cNvSpPr/>
      </dsp:nvSpPr>
      <dsp:spPr>
        <a:xfrm>
          <a:off x="405836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onstructor</a:t>
          </a:r>
        </a:p>
      </dsp:txBody>
      <dsp:txXfrm>
        <a:off x="4058366" y="627223"/>
        <a:ext cx="1778517" cy="699343"/>
      </dsp:txXfrm>
    </dsp:sp>
    <dsp:sp modelId="{7186DE0A-A468-F844-8F3D-BC4EBCFEBA62}">
      <dsp:nvSpPr>
        <dsp:cNvPr id="0" name=""/>
        <dsp:cNvSpPr/>
      </dsp:nvSpPr>
      <dsp:spPr>
        <a:xfrm>
          <a:off x="405836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input parameters for an instance of a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Parameters column of the chart on the previous slide</a:t>
          </a:r>
        </a:p>
      </dsp:txBody>
      <dsp:txXfrm>
        <a:off x="4058366" y="1326567"/>
        <a:ext cx="1778517" cy="3464876"/>
      </dsp:txXfrm>
    </dsp:sp>
    <dsp:sp modelId="{0F2E45FF-7FE9-FF49-8DB5-095D84C0F1B7}">
      <dsp:nvSpPr>
        <dsp:cNvPr id="0" name=""/>
        <dsp:cNvSpPr/>
      </dsp:nvSpPr>
      <dsp:spPr>
        <a:xfrm>
          <a:off x="608587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Functions</a:t>
          </a:r>
        </a:p>
      </dsp:txBody>
      <dsp:txXfrm>
        <a:off x="6085876" y="627223"/>
        <a:ext cx="1778517" cy="699343"/>
      </dsp:txXfrm>
    </dsp:sp>
    <dsp:sp modelId="{2564D77F-41EC-7E4A-A245-9110782AA240}">
      <dsp:nvSpPr>
        <dsp:cNvPr id="0" name=""/>
        <dsp:cNvSpPr/>
      </dsp:nvSpPr>
      <dsp:spPr>
        <a:xfrm>
          <a:off x="608587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functions that can be executed on the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The corresponding smart contract must use the same Name for the applicable function</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Available Actions on the previous slide</a:t>
          </a:r>
        </a:p>
      </dsp:txBody>
      <dsp:txXfrm>
        <a:off x="6085876" y="1326567"/>
        <a:ext cx="1778517" cy="3464876"/>
      </dsp:txXfrm>
    </dsp:sp>
    <dsp:sp modelId="{0E32FB3D-56EA-B24A-9E94-469C9E603473}">
      <dsp:nvSpPr>
        <dsp:cNvPr id="0" name=""/>
        <dsp:cNvSpPr/>
      </dsp:nvSpPr>
      <dsp:spPr>
        <a:xfrm>
          <a:off x="811338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tates</a:t>
          </a:r>
        </a:p>
      </dsp:txBody>
      <dsp:txXfrm>
        <a:off x="8113385" y="627223"/>
        <a:ext cx="1778517" cy="699343"/>
      </dsp:txXfrm>
    </dsp:sp>
    <dsp:sp modelId="{FDEEE735-727B-4C43-89AB-134B242C80FB}">
      <dsp:nvSpPr>
        <dsp:cNvPr id="0" name=""/>
        <dsp:cNvSpPr/>
      </dsp:nvSpPr>
      <dsp:spPr>
        <a:xfrm>
          <a:off x="811338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States that define the status within the workflow</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current state and target state columns on the previous slide</a:t>
          </a:r>
        </a:p>
        <a:p>
          <a:pPr marL="171450" lvl="1" indent="-171450" algn="l" defTabSz="844550">
            <a:lnSpc>
              <a:spcPct val="90000"/>
            </a:lnSpc>
            <a:spcBef>
              <a:spcPct val="0"/>
            </a:spcBef>
            <a:spcAft>
              <a:spcPct val="15000"/>
            </a:spcAft>
            <a:buChar char="•"/>
          </a:pPr>
          <a:endParaRPr lang="en-US" sz="1900" kern="1200" dirty="0"/>
        </a:p>
      </dsp:txBody>
      <dsp:txXfrm>
        <a:off x="8113385" y="1326567"/>
        <a:ext cx="1778517" cy="3464876"/>
      </dsp:txXfrm>
    </dsp:sp>
    <dsp:sp modelId="{95CEB0E8-8927-BF43-8014-0266F220DF5D}">
      <dsp:nvSpPr>
        <dsp:cNvPr id="0" name=""/>
        <dsp:cNvSpPr/>
      </dsp:nvSpPr>
      <dsp:spPr>
        <a:xfrm>
          <a:off x="1014089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ransitions</a:t>
          </a:r>
        </a:p>
      </dsp:txBody>
      <dsp:txXfrm>
        <a:off x="10140895" y="627223"/>
        <a:ext cx="1778517" cy="699343"/>
      </dsp:txXfrm>
    </dsp:sp>
    <dsp:sp modelId="{6CF2DC70-6E6F-0441-8D11-4FC560C5011F}">
      <dsp:nvSpPr>
        <dsp:cNvPr id="0" name=""/>
        <dsp:cNvSpPr/>
      </dsp:nvSpPr>
      <dsp:spPr>
        <a:xfrm>
          <a:off x="1014089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Available actions to the next state</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b="0" i="0" u="none" kern="1200" dirty="0"/>
            <a:t>One or more user roles may perform an action at each state, where an action may transition a state to another state in the workflow</a:t>
          </a:r>
          <a:endParaRPr lang="en-US" sz="1400" kern="1200" dirty="0"/>
        </a:p>
      </dsp:txBody>
      <dsp:txXfrm>
        <a:off x="10140895" y="1326567"/>
        <a:ext cx="1778517" cy="346487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4FE0CF-691C-4DB0-96E6-7C59B9E0ED20}" type="datetimeFigureOut">
              <a:rPr lang="en-US" smtClean="0"/>
              <a:t>11/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AB09A-E6D9-43AF-8311-F2C0834F8FD2}" type="slidenum">
              <a:rPr lang="en-US" smtClean="0"/>
              <a:t>‹#›</a:t>
            </a:fld>
            <a:endParaRPr lang="en-US"/>
          </a:p>
        </p:txBody>
      </p:sp>
    </p:spTree>
    <p:extLst>
      <p:ext uri="{BB962C8B-B14F-4D97-AF65-F5344CB8AC3E}">
        <p14:creationId xmlns:p14="http://schemas.microsoft.com/office/powerpoint/2010/main" val="675441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178F21-7BB5-4F00-9D27-A734FECBAC34}" type="slidenum">
              <a:rPr lang="en-US" smtClean="0"/>
              <a:t>1</a:t>
            </a:fld>
            <a:endParaRPr lang="en-US"/>
          </a:p>
        </p:txBody>
      </p:sp>
    </p:spTree>
    <p:extLst>
      <p:ext uri="{BB962C8B-B14F-4D97-AF65-F5344CB8AC3E}">
        <p14:creationId xmlns:p14="http://schemas.microsoft.com/office/powerpoint/2010/main" val="10615026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9563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006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0793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25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9281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3532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5653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35113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362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064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61EA0F-A667-4B49-8422-0062BC55E249}" type="slidenum">
              <a:rPr lang="en-US" smtClean="0"/>
              <a:t>2</a:t>
            </a:fld>
            <a:endParaRPr lang="en-US"/>
          </a:p>
        </p:txBody>
      </p:sp>
    </p:spTree>
    <p:extLst>
      <p:ext uri="{BB962C8B-B14F-4D97-AF65-F5344CB8AC3E}">
        <p14:creationId xmlns:p14="http://schemas.microsoft.com/office/powerpoint/2010/main" val="1956372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2863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3795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1734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699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8836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18732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321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4924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04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487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6393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4270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00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5/2019 12:2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207753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17B004-5374-4F07-AFE1-5F113933F2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906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890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7400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6436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9 12: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51307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68C56-40A7-4560-9195-29CADEB2EC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E62D5B-7303-441F-AF58-C397FFA090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25F913-BF96-4129-AC5A-2C0FDD5E1570}"/>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506CFD26-AE2E-424F-87E6-E2BAA16EA9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58D140-FA27-4CC8-913C-F18B0640D07C}"/>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849048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627FB-68A0-43BA-813C-CA894ABD01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4F84D0-2945-4C2E-A355-23C6C1A6663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C4142F-74AF-42CD-B50C-2E5B3A68241E}"/>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3348FAAC-8BBC-4519-8D1A-A4BF90B86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D35307-4747-4E94-8CA3-AA7981746F13}"/>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40244705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Segoe UI" panose="020B0502040204020203" pitchFamily="34" charset="0"/>
                <a:cs typeface="Segoe UI" panose="020B0502040204020203" pitchFamily="34" charset="0"/>
              </a:defRPr>
            </a:lvl1pPr>
            <a:lvl2pPr marL="250505" indent="0">
              <a:buFont typeface="Wingdings" panose="05000000000000000000" pitchFamily="2" charset="2"/>
              <a:buNone/>
              <a:defRPr sz="2353" b="0">
                <a:latin typeface="Segoe UI" panose="020B0502040204020203" pitchFamily="34" charset="0"/>
                <a:cs typeface="Segoe UI" panose="020B0502040204020203" pitchFamily="34" charset="0"/>
              </a:defRPr>
            </a:lvl2pPr>
            <a:lvl3pPr marL="441883" indent="0">
              <a:buFont typeface="Wingdings" panose="05000000000000000000" pitchFamily="2" charset="2"/>
              <a:buNone/>
              <a:tabLst/>
              <a:defRPr sz="2157" b="0">
                <a:latin typeface="Segoe UI" panose="020B0502040204020203" pitchFamily="34" charset="0"/>
                <a:cs typeface="Segoe UI" panose="020B0502040204020203" pitchFamily="34" charset="0"/>
              </a:defRPr>
            </a:lvl3pPr>
            <a:lvl4pPr marL="639485" indent="0">
              <a:buFont typeface="Wingdings" panose="05000000000000000000" pitchFamily="2" charset="2"/>
              <a:buNone/>
              <a:defRPr sz="2157" b="0">
                <a:latin typeface="Segoe UI" panose="020B0502040204020203" pitchFamily="34" charset="0"/>
                <a:cs typeface="Segoe UI" panose="020B0502040204020203" pitchFamily="34" charset="0"/>
              </a:defRPr>
            </a:lvl4pPr>
            <a:lvl5pPr marL="837089" indent="0">
              <a:buFont typeface="Wingdings" panose="05000000000000000000" pitchFamily="2" charset="2"/>
              <a:buNone/>
              <a:tabLst/>
              <a:defRPr sz="2157" b="0">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dirty="0"/>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dirty="0"/>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dirty="0"/>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dirty="0"/>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dirty="0"/>
              <a:t>Fifth level</a:t>
            </a:r>
          </a:p>
        </p:txBody>
      </p:sp>
      <p:sp>
        <p:nvSpPr>
          <p:cNvPr id="3" name="Title 2">
            <a:extLst>
              <a:ext uri="{FF2B5EF4-FFF2-40B4-BE49-F238E27FC236}">
                <a16:creationId xmlns:a16="http://schemas.microsoft.com/office/drawing/2014/main" id="{6A6B9AEE-CB61-4AB7-B3AD-F4BBE0294162}"/>
              </a:ext>
            </a:extLst>
          </p:cNvPr>
          <p:cNvSpPr>
            <a:spLocks noGrp="1"/>
          </p:cNvSpPr>
          <p:nvPr>
            <p:ph type="title"/>
          </p:nvPr>
        </p:nvSpPr>
        <p:spPr/>
        <p:txBody>
          <a:bodyPr/>
          <a:lstStyle/>
          <a:p>
            <a:r>
              <a:rPr lang="en-US"/>
              <a:t>Click to edit Master title style</a:t>
            </a:r>
          </a:p>
        </p:txBody>
      </p:sp>
      <p:pic>
        <p:nvPicPr>
          <p:cNvPr id="6" name="Picture 2" descr="A square divided into four sub-squares, colored red, green, yellow and blue (clockwise), with the company name appearing to its right.">
            <a:extLst>
              <a:ext uri="{FF2B5EF4-FFF2-40B4-BE49-F238E27FC236}">
                <a16:creationId xmlns:a16="http://schemas.microsoft.com/office/drawing/2014/main" id="{5241DC46-E851-40D2-A436-281D041BD5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40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3921">
                <a:solidFill>
                  <a:schemeClr val="tx1"/>
                </a:solidFill>
              </a:defRPr>
            </a:lvl1pPr>
          </a:lstStyle>
          <a:p>
            <a:r>
              <a:rPr lang="en-US" dirty="0"/>
              <a:t>Click to edit Master title style</a:t>
            </a:r>
          </a:p>
        </p:txBody>
      </p:sp>
      <p:pic>
        <p:nvPicPr>
          <p:cNvPr id="3" name="Picture 2" descr="A square divided into four sub-squares, colored red, green, yellow and blue (clockwise), with the company name appearing to its right.">
            <a:extLst>
              <a:ext uri="{FF2B5EF4-FFF2-40B4-BE49-F238E27FC236}">
                <a16:creationId xmlns:a16="http://schemas.microsoft.com/office/drawing/2014/main" id="{576F2D13-16FC-453E-9761-5F0DAF2B65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18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6"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dirty="0"/>
              <a:t>subtitle</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2FCA977F-8C2E-49E5-A1A0-D7930D97D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14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8"/>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 descr="A square divided into four sub-squares, colored red, green, yellow and blue (clockwise), with the company name appearing to its right.">
            <a:extLst>
              <a:ext uri="{FF2B5EF4-FFF2-40B4-BE49-F238E27FC236}">
                <a16:creationId xmlns:a16="http://schemas.microsoft.com/office/drawing/2014/main" id="{B2FD96D4-3A5C-4951-825A-BA2C8AF84C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31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50703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93271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F52559C6-C3D9-4754-ACA7-0F6117F3F9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279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56825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972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1" y="2"/>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sz="1800" dirty="0"/>
                    </a:p>
                  </a:txBody>
                  <a:tcPr>
                    <a:solidFill>
                      <a:schemeClr val="accent2"/>
                    </a:solidFill>
                  </a:tcPr>
                </a:tc>
                <a:tc gridSpan="20">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dirty="0"/>
                    </a:p>
                  </a:txBody>
                  <a:tcPr/>
                </a:tc>
                <a:tc gridSpan="5">
                  <a:txBody>
                    <a:bodyPr/>
                    <a:lstStyle/>
                    <a:p>
                      <a:r>
                        <a:rPr lang="en-US" sz="900" dirty="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dirty="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29</a:t>
                      </a:r>
                    </a:p>
                  </a:txBody>
                  <a:tcPr marL="0" marR="0" marT="0" marB="0" anchor="ctr">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5</a:t>
                      </a:r>
                    </a:p>
                  </a:txBody>
                  <a:tcPr marL="0" marR="0" marT="0" marB="0" anchor="ctr">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2</a:t>
                      </a:r>
                    </a:p>
                  </a:txBody>
                  <a:tcPr marL="0" marR="0" marT="0" marB="0" anchor="ctr">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9</a:t>
                      </a:r>
                    </a:p>
                  </a:txBody>
                  <a:tcPr marL="0" marR="0" marT="0" marB="0" anchor="ctr">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20">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5947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A4ECB-E847-4C4D-B765-C6738CA059D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2B6941-2E48-47E5-B103-79012E44D82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771DD-CC6A-4028-959B-FE5BE74EFF26}"/>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1120BD4A-A2C9-4572-BF23-3B8CE39F67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B70B05-E74E-4ACB-92DF-FFBAB92D7711}"/>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1155316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0" y="2"/>
          <a:ext cx="12191988" cy="6857999"/>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sz="1800" dirty="0"/>
                    </a:p>
                  </a:txBody>
                  <a:tcPr>
                    <a:solidFill>
                      <a:schemeClr val="accent2"/>
                    </a:solidFill>
                  </a:tcPr>
                </a:tc>
                <a:tc gridSpan="45">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dirty="0"/>
                    </a:p>
                  </a:txBody>
                  <a:tcPr/>
                </a:tc>
                <a:tc gridSpan="23">
                  <a:txBody>
                    <a:bodyPr/>
                    <a:lstStyle/>
                    <a:p>
                      <a:pPr algn="l"/>
                      <a:r>
                        <a:rPr lang="en-US" sz="1800" dirty="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dirty="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solidFill>
                      <a:schemeClr val="accent3"/>
                    </a:solidFill>
                  </a:tcPr>
                </a:tc>
                <a:tc>
                  <a:txBody>
                    <a:bodyPr/>
                    <a:lstStyle/>
                    <a:p>
                      <a:pPr algn="ctr"/>
                      <a:r>
                        <a:rPr lang="en-US" sz="1000" dirty="0">
                          <a:solidFill>
                            <a:schemeClr val="bg1"/>
                          </a:solidFill>
                        </a:rPr>
                        <a:t>3</a:t>
                      </a:r>
                    </a:p>
                  </a:txBody>
                  <a:tcPr marL="0" marR="0" marT="0" marB="0" anchor="ctr">
                    <a:solidFill>
                      <a:schemeClr val="accent3"/>
                    </a:solidFill>
                  </a:tcPr>
                </a:tc>
                <a:tc>
                  <a:txBody>
                    <a:bodyPr/>
                    <a:lstStyle/>
                    <a:p>
                      <a:pPr algn="ctr"/>
                      <a:r>
                        <a:rPr lang="en-US" sz="1000" dirty="0">
                          <a:solidFill>
                            <a:schemeClr val="bg1"/>
                          </a:solidFill>
                        </a:rPr>
                        <a:t>4</a:t>
                      </a:r>
                    </a:p>
                  </a:txBody>
                  <a:tcPr marL="0" marR="0" marT="0" marB="0" anchor="ctr">
                    <a:solidFill>
                      <a:schemeClr val="accent3"/>
                    </a:solidFill>
                  </a:tcPr>
                </a:tc>
                <a:tc>
                  <a:txBody>
                    <a:bodyPr/>
                    <a:lstStyle/>
                    <a:p>
                      <a:pPr algn="ctr"/>
                      <a:r>
                        <a:rPr lang="en-US" sz="1000" dirty="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9</a:t>
                      </a:r>
                    </a:p>
                  </a:txBody>
                  <a:tcPr marL="0" marR="0" marT="0" marB="0" anchor="ctr">
                    <a:solidFill>
                      <a:schemeClr val="accent3"/>
                    </a:solidFill>
                  </a:tcPr>
                </a:tc>
                <a:tc>
                  <a:txBody>
                    <a:bodyPr/>
                    <a:lstStyle/>
                    <a:p>
                      <a:pPr algn="ctr"/>
                      <a:r>
                        <a:rPr lang="en-US" sz="1000" dirty="0">
                          <a:solidFill>
                            <a:schemeClr val="bg1"/>
                          </a:solidFill>
                        </a:rPr>
                        <a:t>10</a:t>
                      </a:r>
                    </a:p>
                  </a:txBody>
                  <a:tcPr marL="0" marR="0" marT="0" marB="0" anchor="ctr">
                    <a:solidFill>
                      <a:schemeClr val="accent3"/>
                    </a:solidFill>
                  </a:tcPr>
                </a:tc>
                <a:tc>
                  <a:txBody>
                    <a:bodyPr/>
                    <a:lstStyle/>
                    <a:p>
                      <a:pPr algn="ctr"/>
                      <a:r>
                        <a:rPr lang="en-US" sz="1000" dirty="0">
                          <a:solidFill>
                            <a:schemeClr val="bg1"/>
                          </a:solidFill>
                        </a:rPr>
                        <a:t>11</a:t>
                      </a:r>
                    </a:p>
                  </a:txBody>
                  <a:tcPr marL="0" marR="0" marT="0" marB="0" anchor="ctr">
                    <a:solidFill>
                      <a:schemeClr val="accent3"/>
                    </a:solidFill>
                  </a:tcPr>
                </a:tc>
                <a:tc>
                  <a:txBody>
                    <a:bodyPr/>
                    <a:lstStyle/>
                    <a:p>
                      <a:pPr algn="ctr"/>
                      <a:r>
                        <a:rPr lang="en-US" sz="1000" dirty="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6</a:t>
                      </a:r>
                    </a:p>
                  </a:txBody>
                  <a:tcPr marL="0" marR="0" marT="0" marB="0" anchor="ctr">
                    <a:solidFill>
                      <a:schemeClr val="accent3"/>
                    </a:solidFill>
                  </a:tcPr>
                </a:tc>
                <a:tc>
                  <a:txBody>
                    <a:bodyPr/>
                    <a:lstStyle/>
                    <a:p>
                      <a:pPr algn="ctr"/>
                      <a:r>
                        <a:rPr lang="en-US" sz="1000" dirty="0">
                          <a:solidFill>
                            <a:schemeClr val="bg1"/>
                          </a:solidFill>
                        </a:rPr>
                        <a:t>17</a:t>
                      </a:r>
                    </a:p>
                  </a:txBody>
                  <a:tcPr marL="0" marR="0" marT="0" marB="0" anchor="ctr">
                    <a:solidFill>
                      <a:schemeClr val="accent3"/>
                    </a:solidFill>
                  </a:tcPr>
                </a:tc>
                <a:tc>
                  <a:txBody>
                    <a:bodyPr/>
                    <a:lstStyle/>
                    <a:p>
                      <a:pPr algn="ctr"/>
                      <a:r>
                        <a:rPr lang="en-US" sz="1000" dirty="0">
                          <a:solidFill>
                            <a:schemeClr val="bg1"/>
                          </a:solidFill>
                        </a:rPr>
                        <a:t>18</a:t>
                      </a:r>
                    </a:p>
                  </a:txBody>
                  <a:tcPr marL="0" marR="0" marT="0" marB="0" anchor="ctr">
                    <a:solidFill>
                      <a:schemeClr val="accent3"/>
                    </a:solidFill>
                  </a:tcPr>
                </a:tc>
                <a:tc>
                  <a:txBody>
                    <a:bodyPr/>
                    <a:lstStyle/>
                    <a:p>
                      <a:pPr algn="ctr"/>
                      <a:r>
                        <a:rPr lang="en-US" sz="1000" dirty="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3</a:t>
                      </a:r>
                    </a:p>
                  </a:txBody>
                  <a:tcPr marL="0" marR="0" marT="0" marB="0" anchor="ctr">
                    <a:solidFill>
                      <a:schemeClr val="accent3"/>
                    </a:solidFill>
                  </a:tcPr>
                </a:tc>
                <a:tc>
                  <a:txBody>
                    <a:bodyPr/>
                    <a:lstStyle/>
                    <a:p>
                      <a:pPr algn="ctr"/>
                      <a:r>
                        <a:rPr lang="en-US" sz="1000" dirty="0">
                          <a:solidFill>
                            <a:schemeClr val="bg1"/>
                          </a:solidFill>
                        </a:rPr>
                        <a:t>24</a:t>
                      </a:r>
                    </a:p>
                  </a:txBody>
                  <a:tcPr marL="0" marR="0" marT="0" marB="0" anchor="ctr">
                    <a:solidFill>
                      <a:schemeClr val="accent3"/>
                    </a:solidFill>
                  </a:tcPr>
                </a:tc>
                <a:tc>
                  <a:txBody>
                    <a:bodyPr/>
                    <a:lstStyle/>
                    <a:p>
                      <a:pPr algn="ctr"/>
                      <a:r>
                        <a:rPr lang="en-US" sz="1000" dirty="0">
                          <a:solidFill>
                            <a:schemeClr val="bg1"/>
                          </a:solidFill>
                        </a:rPr>
                        <a:t>25</a:t>
                      </a:r>
                    </a:p>
                  </a:txBody>
                  <a:tcPr marL="0" marR="0" marT="0" marB="0" anchor="ctr">
                    <a:solidFill>
                      <a:schemeClr val="accent3"/>
                    </a:solidFill>
                  </a:tcPr>
                </a:tc>
                <a:tc>
                  <a:txBody>
                    <a:bodyPr/>
                    <a:lstStyle/>
                    <a:p>
                      <a:pPr algn="ctr"/>
                      <a:r>
                        <a:rPr lang="en-US" sz="1000" dirty="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31</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solidFill>
                      <a:schemeClr val="accent3"/>
                    </a:solidFill>
                  </a:tcPr>
                </a:tc>
                <a:tc>
                  <a:txBody>
                    <a:bodyPr/>
                    <a:lstStyle/>
                    <a:p>
                      <a:pPr algn="ctr"/>
                      <a:r>
                        <a:rPr lang="en-US" sz="1000" dirty="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solidFill>
                      <a:schemeClr val="accent3"/>
                    </a:solidFill>
                  </a:tcPr>
                </a:tc>
                <a:tc>
                  <a:txBody>
                    <a:bodyPr/>
                    <a:lstStyle/>
                    <a:p>
                      <a:pPr algn="ctr"/>
                      <a:r>
                        <a:rPr lang="en-US" sz="1000" dirty="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solidFill>
                      <a:schemeClr val="accent3"/>
                    </a:solidFill>
                  </a:tcPr>
                </a:tc>
                <a:tc>
                  <a:txBody>
                    <a:bodyPr/>
                    <a:lstStyle/>
                    <a:p>
                      <a:pPr algn="ctr"/>
                      <a:r>
                        <a:rPr lang="en-US" sz="1000" dirty="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45">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360435741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799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4" name="Text Box 3">
            <a:extLst>
              <a:ext uri="{FF2B5EF4-FFF2-40B4-BE49-F238E27FC236}">
                <a16:creationId xmlns:a16="http://schemas.microsoft.com/office/drawing/2014/main" id="{E4A89E69-48F9-430F-A4AA-C35FE68B8CD6}"/>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D6605620-554C-447C-9454-F1E897F8C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073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158793"/>
          </a:xfrm>
          <a:noFill/>
        </p:spPr>
        <p:txBody>
          <a:bodyPr tIns="91440" bIns="91440" anchor="t" anchorCtr="0">
            <a:spAutoFit/>
          </a:bodyPr>
          <a:lstStyle>
            <a:lvl1pPr>
              <a:defRPr sz="705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7240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58141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7464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BEEBAAA-29B5-4AF5-BC5F-7E580C29002D}" type="datetimeFigureOut">
              <a:rPr lang="en-US" smtClean="0"/>
              <a:t>11/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sp>
        <p:nvSpPr>
          <p:cNvPr id="9" name="Rectangle 8"/>
          <p:cNvSpPr/>
          <p:nvPr userDrawn="1"/>
        </p:nvSpPr>
        <p:spPr>
          <a:xfrm>
            <a:off x="254951" y="262784"/>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254950" y="262784"/>
            <a:ext cx="11682101" cy="3550091"/>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2"/>
          <p:cNvSpPr>
            <a:spLocks noGrp="1"/>
          </p:cNvSpPr>
          <p:nvPr>
            <p:ph type="body" idx="1" hasCustomPrompt="1"/>
          </p:nvPr>
        </p:nvSpPr>
        <p:spPr>
          <a:xfrm>
            <a:off x="516710" y="1539506"/>
            <a:ext cx="10292187" cy="2169852"/>
          </a:xfrm>
        </p:spPr>
        <p:txBody>
          <a:bodyPr anchor="b">
            <a:normAutofit/>
          </a:bodyPr>
          <a:lstStyle>
            <a:lvl1pPr marL="0" indent="0">
              <a:buNone/>
              <a:defRPr sz="3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2FA3234E-78D8-491A-9913-16D231F5A824}"/>
              </a:ext>
            </a:extLst>
          </p:cNvPr>
          <p:cNvSpPr>
            <a:spLocks noGrp="1"/>
          </p:cNvSpPr>
          <p:nvPr>
            <p:ph sz="quarter" idx="13"/>
          </p:nvPr>
        </p:nvSpPr>
        <p:spPr>
          <a:xfrm>
            <a:off x="516710" y="3973513"/>
            <a:ext cx="10292187" cy="2468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584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897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2" name="Rectangle 1"/>
          <p:cNvSpPr/>
          <p:nvPr userDrawn="1"/>
        </p:nvSpPr>
        <p:spPr bwMode="auto">
          <a:xfrm>
            <a:off x="269239" y="3204861"/>
            <a:ext cx="6274974" cy="2465518"/>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53053" y="3204862"/>
            <a:ext cx="6276531" cy="1190950"/>
          </a:xfrm>
          <a:noFill/>
        </p:spPr>
        <p:txBody>
          <a:bodyPr lIns="146304" tIns="91440" rIns="146304" bIns="91440" anchor="t" anchorCtr="0"/>
          <a:lstStyle>
            <a:lvl1pPr>
              <a:defRPr sz="5292" spc="-98" baseline="0">
                <a:gradFill>
                  <a:gsLst>
                    <a:gs pos="72727">
                      <a:srgbClr val="FFFFFF"/>
                    </a:gs>
                    <a:gs pos="36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4395811"/>
            <a:ext cx="6276531" cy="1271450"/>
          </a:xfrm>
        </p:spPr>
        <p:txBody>
          <a:bodyPr tIns="109728" bIns="109728">
            <a:noAutofit/>
          </a:bodyPr>
          <a:lstStyle>
            <a:lvl1pPr marL="0" indent="0">
              <a:spcBef>
                <a:spcPts val="0"/>
              </a:spcBef>
              <a:buNone/>
              <a:defRPr sz="3135">
                <a:gradFill>
                  <a:gsLst>
                    <a:gs pos="72727">
                      <a:srgbClr val="FFFFFF"/>
                    </a:gs>
                    <a:gs pos="36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50570" y="470413"/>
            <a:ext cx="1792845" cy="38410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20"/>
            <a:ext cx="1792850" cy="38410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1604-05F3-4C4A-8208-6C73E45D53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2AF555-6181-4A61-A74B-4D90BF0B6ED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B4D0EC-C061-4A60-858E-4AC37FEEF4E1}"/>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7F93DC6F-DE74-4EA8-8E92-F390DDA43C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C2CD6F-07F1-4F29-B907-66755A03DC1B}"/>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935088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no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no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no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no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no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no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5FD1C-3A98-4C6F-B3D2-EB7AD372C6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663D818-568B-4424-8A1A-4BF0FDC16C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89D5DDF-7248-4E72-A1B1-C76E3D873E51}"/>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4F733D7D-CC6D-452B-871F-092838DEB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C9AB6E-1D38-491B-B04F-9CB206D7EC3C}"/>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3813774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solidFill>
              </a:defRPr>
            </a:lvl1pPr>
          </a:lstStyle>
          <a:p>
            <a:fld id="{A34B8C21-472C-43AD-8B9F-5964D09AB204}" type="slidenum">
              <a:rPr lang="en-IN" smtClean="0">
                <a:solidFill>
                  <a:srgbClr val="FFFFFF"/>
                </a:solidFill>
              </a:rPr>
              <a:pPr/>
              <a:t>‹#›</a:t>
            </a:fld>
            <a:endParaRPr lang="en-IN">
              <a:solidFill>
                <a:srgbClr val="FFFFFF"/>
              </a:solidFill>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1"/>
            <a:ext cx="11623331"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A50DC-93C9-4DA4-B09E-DFA8B27F03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CD8BF9-C4C5-4F91-893A-2AAD0E4EEE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F165ED-CA9A-4C10-8986-449A2967594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81AD15-CA34-416B-93B3-D59506C1A7AF}"/>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6" name="Footer Placeholder 5">
            <a:extLst>
              <a:ext uri="{FF2B5EF4-FFF2-40B4-BE49-F238E27FC236}">
                <a16:creationId xmlns:a16="http://schemas.microsoft.com/office/drawing/2014/main" id="{7714FC33-DB6F-4D1B-8E7A-D1E8079972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821693-4848-4EEF-99D7-FA8E523FE7D5}"/>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3595713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solidFill>
                  <a:prstClr val="black">
                    <a:tint val="75000"/>
                  </a:prstClr>
                </a:solidFill>
              </a:rPr>
              <a:t>11/30/2016</a:t>
            </a:r>
          </a:p>
        </p:txBody>
      </p:sp>
      <p:sp>
        <p:nvSpPr>
          <p:cNvPr id="8" name="Footer Placeholder 7"/>
          <p:cNvSpPr>
            <a:spLocks noGrp="1"/>
          </p:cNvSpPr>
          <p:nvPr>
            <p:ph type="ftr" sz="quarter" idx="11"/>
          </p:nvPr>
        </p:nvSpPr>
        <p:spPr/>
        <p:txBody>
          <a:bodyPr/>
          <a:lstStyle/>
          <a:p>
            <a:r>
              <a:rPr lang="en-US">
                <a:solidFill>
                  <a:prstClr val="black">
                    <a:tint val="75000"/>
                  </a:prstClr>
                </a:solidFill>
              </a:rPr>
              <a:t>Microsoft Confidential</a:t>
            </a:r>
          </a:p>
        </p:txBody>
      </p:sp>
      <p:sp>
        <p:nvSpPr>
          <p:cNvPr id="9" name="Slide Number Placeholder 8"/>
          <p:cNvSpPr>
            <a:spLocks noGrp="1"/>
          </p:cNvSpPr>
          <p:nvPr>
            <p:ph type="sldNum" sz="quarter" idx="12"/>
          </p:nvPr>
        </p:nvSpPr>
        <p:spPr/>
        <p:txBody>
          <a:bodyPr/>
          <a:lstStyle/>
          <a:p>
            <a:fld id="{D1C19AA7-0893-E94A-8772-131383EE1E4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1349"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title"/>
          </p:nvPr>
        </p:nvSpPr>
        <p:spPr/>
        <p:txBody>
          <a:bodyPr/>
          <a:lstStyle/>
          <a:p>
            <a:r>
              <a:rPr lang="en-US"/>
              <a:t>Click to edit Master title style</a:t>
            </a:r>
          </a:p>
        </p:txBody>
      </p:sp>
      <p:pic>
        <p:nvPicPr>
          <p:cNvPr id="32322" name="Picture 578" descr="https://qzevents.files.wordpress.com/2015/05/microsoft-logo-white-png.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840686" y="5867400"/>
            <a:ext cx="2084394" cy="76673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pecial</a:t>
            </a: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422477"/>
          </a:xfrm>
        </p:spPr>
        <p:txBody>
          <a:bodyPr>
            <a:spAutoFit/>
          </a:bodyPr>
          <a:lstStyle>
            <a:lvl1pPr>
              <a:defRPr sz="1568"/>
            </a:lvl1pPr>
            <a:lvl2pPr>
              <a:defRPr sz="1765"/>
            </a:lvl2pPr>
            <a:lvl3pPr>
              <a:defRPr sz="1765"/>
            </a:lvl3pPr>
            <a:lvl4pPr>
              <a:defRPr sz="1568"/>
            </a:lvl4pPr>
            <a:lvl5pPr>
              <a:defRPr sz="1568"/>
            </a:lvl5pPr>
          </a:lstStyle>
          <a:p>
            <a:pPr lvl="0"/>
            <a:r>
              <a:rPr lang="en-US"/>
              <a:t>Click to edit Master text styles</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Click to edit Master text styles</a:t>
            </a: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Title Light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Title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r>
              <a:rPr lang="en-US"/>
              <a:t>Click to edit Master title style</a:t>
            </a: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on Blue">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ck Notes slide Layout">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bwMode="white">
          <a:xfrm>
            <a:off x="269239" y="2092120"/>
            <a:ext cx="11653523" cy="422477"/>
          </a:xfrm>
          <a:prstGeom prst="rect">
            <a:avLst/>
          </a:prstGeom>
        </p:spPr>
        <p:txBody>
          <a:bodyPr/>
          <a:lstStyle>
            <a:lvl1pPr marL="284790" indent="-284790">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1pPr>
            <a:lvl2pPr marL="560241" indent="-275453">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2pPr>
            <a:lvl3pPr marL="845031" indent="-284790">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3pPr>
            <a:lvl4pPr marL="1069128" indent="-224097">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4pPr>
            <a:lvl5pPr marL="1293225" indent="-224097">
              <a:buClrTx/>
              <a:buSzPct val="90000"/>
              <a:buFont typeface="Wingdings" panose="05000000000000000000" pitchFamily="2" charset="2"/>
              <a:buChar char="§"/>
              <a:defRPr sz="1961">
                <a:solidFill>
                  <a:schemeClr val="bg1"/>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505050"/>
          </a:solidFill>
        </p:spPr>
        <p:txBody>
          <a:bodyPr wrap="square" lIns="155457" tIns="77729" rIns="155457" bIns="77729" anchor="b" anchorCtr="0">
            <a:noAutofit/>
          </a:bodyPr>
          <a:lstStyle>
            <a:lvl1pPr algn="r">
              <a:buFont typeface="Arial" pitchFamily="34" charset="0"/>
              <a:buNone/>
              <a:defRPr sz="3627" spc="-50" baseline="0">
                <a:solidFill>
                  <a:srgbClr val="FFFFFF"/>
                </a:solidFill>
                <a:effectLst/>
                <a:latin typeface="Segoe UI" pitchFamily="34" charset="0"/>
                <a:ea typeface="Segoe UI" pitchFamily="34" charset="0"/>
                <a:cs typeface="Segoe UI" pitchFamily="34" charset="0"/>
              </a:defRPr>
            </a:lvl1pPr>
          </a:lstStyle>
          <a:p>
            <a:pPr lvl="0"/>
            <a:r>
              <a:rPr lang="en-US"/>
              <a:t>Next:</a:t>
            </a:r>
          </a:p>
        </p:txBody>
      </p:sp>
      <p:sp>
        <p:nvSpPr>
          <p:cNvPr id="5" name="Title 2"/>
          <p:cNvSpPr>
            <a:spLocks noGrp="1"/>
          </p:cNvSpPr>
          <p:nvPr>
            <p:ph type="title"/>
          </p:nvPr>
        </p:nvSpPr>
        <p:spPr bwMode="white">
          <a:xfrm>
            <a:off x="269240" y="289511"/>
            <a:ext cx="11655840" cy="899665"/>
          </a:xfrm>
        </p:spPr>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4AC02-1F90-4A5A-B06F-45FA9A8B6C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27939F-0656-4D0C-A74B-D8FE6C8F8C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20A3B37-D034-4CFE-8A88-C9D79CDB187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91B40-2DB4-4695-BCA3-8BC79F3126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1D8EC05-18C2-48B1-8A46-8AE24001620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9B7956-C2F1-4B40-AF8E-3F3F7E15BCC1}"/>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8" name="Footer Placeholder 7">
            <a:extLst>
              <a:ext uri="{FF2B5EF4-FFF2-40B4-BE49-F238E27FC236}">
                <a16:creationId xmlns:a16="http://schemas.microsoft.com/office/drawing/2014/main" id="{DA73FBE4-1A21-43FE-A31E-1C8406DCD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7FED998-04BE-4C28-931F-E15B150C916A}"/>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30029758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60"/>
          </a:solidFill>
          <a:ln w="12700" cap="flat" cmpd="sng" algn="ctr">
            <a:noFill/>
            <a:prstDash val="solid"/>
            <a:miter lim="800000"/>
          </a:ln>
          <a:effectLst/>
        </p:spPr>
        <p:txBody>
          <a:bodyPr rtlCol="0" anchor="ctr"/>
          <a:lstStyle/>
          <a:p>
            <a:pPr algn="ctr"/>
            <a:endParaRPr lang="en-US" kern="0">
              <a:solidFill>
                <a:prstClr val="white"/>
              </a:solidFill>
            </a:endParaRPr>
          </a:p>
        </p:txBody>
      </p:sp>
      <p:sp>
        <p:nvSpPr>
          <p:cNvPr id="3" name="Content Placeholder 2"/>
          <p:cNvSpPr>
            <a:spLocks noGrp="1"/>
          </p:cNvSpPr>
          <p:nvPr>
            <p:ph idx="1"/>
          </p:nvPr>
        </p:nvSpPr>
        <p:spPr>
          <a:xfrm>
            <a:off x="838200" y="1825625"/>
            <a:ext cx="10515600" cy="4351338"/>
          </a:xfrm>
          <a:prstGeom prst="rect">
            <a:avLst/>
          </a:prstGeom>
        </p:spPr>
        <p:txBody>
          <a:bodyPr/>
          <a:lstStyle>
            <a:lvl1pPr marL="228600" indent="-228600">
              <a:buFont typeface="Wingdings" panose="05000000000000000000" pitchFamily="2" charset="2"/>
              <a:buChar char="§"/>
              <a:defRPr>
                <a:latin typeface="Segoe UI" panose="020B0502040204020203" pitchFamily="34" charset="0"/>
                <a:cs typeface="Segoe UI" panose="020B0502040204020203" pitchFamily="34" charset="0"/>
              </a:defRPr>
            </a:lvl1pPr>
            <a:lvl2pPr marL="685800" indent="-228600">
              <a:buFont typeface="Wingdings" panose="05000000000000000000" pitchFamily="2" charset="2"/>
              <a:buChar char="§"/>
              <a:defRPr>
                <a:latin typeface="Segoe UI" panose="020B0502040204020203" pitchFamily="34" charset="0"/>
                <a:cs typeface="Segoe UI" panose="020B0502040204020203" pitchFamily="34" charset="0"/>
              </a:defRPr>
            </a:lvl2pPr>
            <a:lvl3pPr marL="1143000" indent="-228600">
              <a:buFont typeface="Wingdings" panose="05000000000000000000" pitchFamily="2" charset="2"/>
              <a:buChar char="§"/>
              <a:defRPr>
                <a:latin typeface="Segoe UI" panose="020B0502040204020203" pitchFamily="34" charset="0"/>
                <a:cs typeface="Segoe UI" panose="020B0502040204020203" pitchFamily="34" charset="0"/>
              </a:defRPr>
            </a:lvl3pPr>
            <a:lvl4pPr marL="1600200" indent="-228600">
              <a:buFont typeface="Wingdings" panose="05000000000000000000" pitchFamily="2" charset="2"/>
              <a:buChar char="§"/>
              <a:defRPr>
                <a:latin typeface="Segoe UI" panose="020B0502040204020203" pitchFamily="34" charset="0"/>
                <a:cs typeface="Segoe UI" panose="020B0502040204020203" pitchFamily="34" charset="0"/>
              </a:defRPr>
            </a:lvl4pPr>
            <a:lvl5pPr marL="2057400" indent="-228600">
              <a:buFont typeface="Wingdings" panose="05000000000000000000" pitchFamily="2" charset="2"/>
              <a:buChar char="§"/>
              <a:defRPr>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9410705" y="6477378"/>
            <a:ext cx="2743200" cy="365125"/>
          </a:xfrm>
          <a:prstGeom prst="rect">
            <a:avLst/>
          </a:prstGeom>
        </p:spPr>
        <p:txBody>
          <a:bodyPr/>
          <a:lstStyle>
            <a:lvl1pPr>
              <a:defRPr>
                <a:latin typeface="Segoe UI" panose="020B0502040204020203" pitchFamily="34" charset="0"/>
                <a:cs typeface="Segoe UI" panose="020B0502040204020203" pitchFamily="34" charset="0"/>
              </a:defRPr>
            </a:lvl1pPr>
          </a:lstStyle>
          <a:p>
            <a:fld id="{114FF349-2143-426B-B8CB-94B0C3CE38BC}" type="slidenum">
              <a:rPr lang="en-US" smtClean="0">
                <a:solidFill>
                  <a:prstClr val="black">
                    <a:tint val="75000"/>
                  </a:prstClr>
                </a:solidFill>
              </a:rPr>
              <a:pPr/>
              <a:t>‹#›</a:t>
            </a:fld>
            <a:endParaRPr lang="en-US">
              <a:solidFill>
                <a:prstClr val="black">
                  <a:tint val="75000"/>
                </a:prstClr>
              </a:solidFill>
            </a:endParaRPr>
          </a:p>
        </p:txBody>
      </p:sp>
      <p:sp>
        <p:nvSpPr>
          <p:cNvPr id="6" name="Title Placeholder 2"/>
          <p:cNvSpPr>
            <a:spLocks noGrp="1"/>
          </p:cNvSpPr>
          <p:nvPr>
            <p:ph type="title"/>
          </p:nvPr>
        </p:nvSpPr>
        <p:spPr>
          <a:xfrm>
            <a:off x="609600" y="136525"/>
            <a:ext cx="11118222" cy="914400"/>
          </a:xfrm>
          <a:prstGeom prst="rect">
            <a:avLst/>
          </a:prstGeom>
        </p:spPr>
        <p:txBody>
          <a:bodyPr vert="horz" lIns="91440" tIns="45720" rIns="91440" bIns="45720" rtlCol="0" anchor="ctr">
            <a:noAutofit/>
          </a:bodyPr>
          <a:lstStyle/>
          <a:p>
            <a:r>
              <a:rPr lang="en-US"/>
              <a:t>Click to edit Master title style</a:t>
            </a: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ysClr val="window" lastClr="FFFFFF">
              <a:lumMod val="50000"/>
            </a:sysClr>
          </a:solidFill>
          <a:ln w="12700" cap="flat" cmpd="sng" algn="ctr">
            <a:noFill/>
            <a:prstDash val="solid"/>
            <a:miter lim="800000"/>
          </a:ln>
          <a:effectLst/>
        </p:spPr>
        <p:txBody>
          <a:bodyPr rtlCol="0" anchor="ctr"/>
          <a:lstStyle/>
          <a:p>
            <a:pPr algn="ctr">
              <a:defRPr/>
            </a:pPr>
            <a:endParaRPr lang="en-US" kern="0">
              <a:solidFill>
                <a:prstClr val="white"/>
              </a:solidFill>
            </a:endParaRPr>
          </a:p>
        </p:txBody>
      </p:sp>
      <p:sp>
        <p:nvSpPr>
          <p:cNvPr id="2" name="Title 1"/>
          <p:cNvSpPr>
            <a:spLocks noGrp="1"/>
          </p:cNvSpPr>
          <p:nvPr>
            <p:ph type="title"/>
          </p:nvPr>
        </p:nvSpPr>
        <p:spPr>
          <a:xfrm>
            <a:off x="584462" y="289511"/>
            <a:ext cx="11340618" cy="899665"/>
          </a:xfrm>
        </p:spPr>
        <p:txBody>
          <a:bodyPr/>
          <a:lstStyle>
            <a:lvl1pPr>
              <a:defRPr sz="400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2006575"/>
          </a:xfrm>
        </p:spPr>
        <p:txBody>
          <a:bodyPr/>
          <a:lstStyle>
            <a:lvl1pPr marL="0" indent="0">
              <a:buNone/>
              <a:defRPr sz="4000">
                <a:solidFill>
                  <a:srgbClr val="000000"/>
                </a:solidFill>
                <a:latin typeface="+mn-lt"/>
              </a:defRPr>
            </a:lvl1pPr>
            <a:lvl2pPr marL="0" indent="0">
              <a:buFontTx/>
              <a:buNone/>
              <a:defRPr sz="2000">
                <a:solidFill>
                  <a:srgbClr val="000000"/>
                </a:solidFill>
                <a:latin typeface="+mn-lt"/>
              </a:defRPr>
            </a:lvl2pPr>
            <a:lvl3pPr marL="224097" indent="0">
              <a:buNone/>
              <a:defRPr sz="2000">
                <a:solidFill>
                  <a:srgbClr val="000000"/>
                </a:solidFill>
                <a:latin typeface="+mn-lt"/>
              </a:defRPr>
            </a:lvl3pPr>
            <a:lvl4pPr marL="448193" indent="0">
              <a:buNone/>
              <a:defRPr sz="1800">
                <a:solidFill>
                  <a:srgbClr val="000000"/>
                </a:solidFill>
                <a:latin typeface="+mn-lt"/>
              </a:defRPr>
            </a:lvl4pPr>
            <a:lvl5pPr marL="672290" indent="0">
              <a:buNone/>
              <a:defRPr sz="18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1368586" y="6410572"/>
            <a:ext cx="830220" cy="436530"/>
          </a:xfrm>
          <a:prstGeom prst="rect">
            <a:avLst/>
          </a:prstGeom>
          <a:noFill/>
        </p:spPr>
        <p:txBody>
          <a:bodyPr wrap="square" lIns="182880" tIns="146304" rIns="182880" bIns="146304" rtlCol="0">
            <a:spAutoFit/>
          </a:bodyPr>
          <a:lstStyle/>
          <a:p>
            <a:pPr algn="r">
              <a:lnSpc>
                <a:spcPct val="90000"/>
              </a:lnSpc>
              <a:spcAft>
                <a:spcPts val="600"/>
              </a:spcAft>
              <a:defRPr/>
            </a:pPr>
            <a:fld id="{7926EC7F-CF5C-48F7-AE01-C04176AA88D8}" type="slidenum">
              <a:rPr lang="en-US" sz="1000">
                <a:solidFill>
                  <a:prstClr val="white">
                    <a:lumMod val="50000"/>
                  </a:prstClr>
                </a:solidFill>
              </a:rPr>
              <a:pPr algn="r">
                <a:lnSpc>
                  <a:spcPct val="90000"/>
                </a:lnSpc>
                <a:spcAft>
                  <a:spcPts val="600"/>
                </a:spcAft>
                <a:defRPr/>
              </a:pPr>
              <a:t>‹#›</a:t>
            </a:fld>
            <a:endParaRPr lang="en-US" sz="1000" err="1">
              <a:solidFill>
                <a:prstClr val="white">
                  <a:lumMod val="50000"/>
                </a:prstClr>
              </a:solidFill>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25172"/>
            <a:ext cx="2689274" cy="5972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hashtag</a:t>
            </a:r>
          </a:p>
        </p:txBody>
      </p:sp>
      <p:sp>
        <p:nvSpPr>
          <p:cNvPr id="15" name="Text Placeholder 4"/>
          <p:cNvSpPr>
            <a:spLocks noGrp="1"/>
          </p:cNvSpPr>
          <p:nvPr>
            <p:ph type="body" sz="quarter" idx="16" hasCustomPrompt="1"/>
          </p:nvPr>
        </p:nvSpPr>
        <p:spPr>
          <a:xfrm>
            <a:off x="8783003" y="299807"/>
            <a:ext cx="3137517" cy="5972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BEEBAAA-29B5-4AF5-BC5F-7E580C29002D}" type="datetimeFigureOut">
              <a:rPr lang="en-US" smtClean="0"/>
              <a:t>11/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sp>
        <p:nvSpPr>
          <p:cNvPr id="9" name="Rectangle 8"/>
          <p:cNvSpPr/>
          <p:nvPr userDrawn="1"/>
        </p:nvSpPr>
        <p:spPr>
          <a:xfrm>
            <a:off x="254951" y="262784"/>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254950" y="262784"/>
            <a:ext cx="11682101" cy="3550091"/>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2"/>
          <p:cNvSpPr>
            <a:spLocks noGrp="1"/>
          </p:cNvSpPr>
          <p:nvPr>
            <p:ph type="body" idx="1" hasCustomPrompt="1"/>
          </p:nvPr>
        </p:nvSpPr>
        <p:spPr>
          <a:xfrm>
            <a:off x="516710" y="1539506"/>
            <a:ext cx="10292187" cy="2169852"/>
          </a:xfrm>
        </p:spPr>
        <p:txBody>
          <a:bodyPr anchor="b">
            <a:normAutofit/>
          </a:bodyPr>
          <a:lstStyle>
            <a:lvl1pPr marL="0" indent="0">
              <a:buNone/>
              <a:defRPr sz="3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2FA3234E-78D8-491A-9913-16D231F5A824}"/>
              </a:ext>
            </a:extLst>
          </p:cNvPr>
          <p:cNvSpPr>
            <a:spLocks noGrp="1"/>
          </p:cNvSpPr>
          <p:nvPr>
            <p:ph sz="quarter" idx="13"/>
          </p:nvPr>
        </p:nvSpPr>
        <p:spPr>
          <a:xfrm>
            <a:off x="516710" y="3973513"/>
            <a:ext cx="10292187" cy="2468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14991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14219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781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530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8636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32995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6904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E9967-A7E8-4CC4-895A-C74169AAA46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E974F4-6016-4DCB-809A-20E50C6C5726}"/>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4" name="Footer Placeholder 3">
            <a:extLst>
              <a:ext uri="{FF2B5EF4-FFF2-40B4-BE49-F238E27FC236}">
                <a16:creationId xmlns:a16="http://schemas.microsoft.com/office/drawing/2014/main" id="{305C36D8-C7EC-42D0-9E50-4A3052D197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B59976-A14D-4BC7-A94A-92784A6049C0}"/>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2236615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0093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82711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87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348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847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71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65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97504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74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40430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86CA15-B5C8-4FD6-8C9E-2EF638084A85}"/>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3" name="Footer Placeholder 2">
            <a:extLst>
              <a:ext uri="{FF2B5EF4-FFF2-40B4-BE49-F238E27FC236}">
                <a16:creationId xmlns:a16="http://schemas.microsoft.com/office/drawing/2014/main" id="{50335128-0C31-4A7C-A7BF-CCBF332E7E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DB2EDFD-DD12-4D29-8B21-280EA357F018}"/>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9111946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06069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219200"/>
            <a:ext cx="2438400" cy="43964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914367"/>
            <a:fld id="{74A398B2-5A34-1A4A-811E-F4027282568C}" type="slidenum">
              <a:rPr lang="en-US" smtClean="0">
                <a:solidFill>
                  <a:srgbClr val="FFFFFF">
                    <a:tint val="75000"/>
                  </a:srgbClr>
                </a:solidFill>
              </a:rPr>
              <a:pPr defTabSz="914367"/>
              <a:t>‹#›</a:t>
            </a:fld>
            <a:endParaRPr lang="en-US" dirty="0">
              <a:solidFill>
                <a:srgbClr val="FFFFFF">
                  <a:tint val="75000"/>
                </a:srgbClr>
              </a:solidFill>
            </a:endParaRPr>
          </a:p>
        </p:txBody>
      </p:sp>
    </p:spTree>
    <p:extLst>
      <p:ext uri="{BB962C8B-B14F-4D97-AF65-F5344CB8AC3E}">
        <p14:creationId xmlns:p14="http://schemas.microsoft.com/office/powerpoint/2010/main" val="28154020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19785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114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336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2415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435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95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085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69360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1A9D-0685-4549-B1F3-E4C9155630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97353A-098F-4104-B650-31F8D447A4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717689-872F-4251-A11B-C12426409F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80D2D25-E4F5-439A-A4A4-54E5F2E13FA9}"/>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6" name="Footer Placeholder 5">
            <a:extLst>
              <a:ext uri="{FF2B5EF4-FFF2-40B4-BE49-F238E27FC236}">
                <a16:creationId xmlns:a16="http://schemas.microsoft.com/office/drawing/2014/main" id="{417A9765-64AB-43B2-86F1-1247B91319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F972BB-C5D0-4554-A357-863C8821D64E}"/>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9207036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842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0052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7893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9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261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5960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72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9319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94407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3964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a:t>Enter header here.</a:t>
            </a: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914367"/>
            <a:fld id="{74A398B2-5A34-1A4A-811E-F4027282568C}" type="slidenum">
              <a:rPr lang="en-US" smtClean="0">
                <a:solidFill>
                  <a:srgbClr val="FFFFFF">
                    <a:tint val="75000"/>
                  </a:srgbClr>
                </a:solidFill>
              </a:rPr>
              <a:pPr defTabSz="914367"/>
              <a:t>‹#›</a:t>
            </a:fld>
            <a:endParaRPr lang="en-US">
              <a:solidFill>
                <a:srgbClr val="FFFFFF">
                  <a:tint val="75000"/>
                </a:srgbClr>
              </a:solidFill>
            </a:endParaRPr>
          </a:p>
        </p:txBody>
      </p:sp>
    </p:spTree>
    <p:extLst>
      <p:ext uri="{BB962C8B-B14F-4D97-AF65-F5344CB8AC3E}">
        <p14:creationId xmlns:p14="http://schemas.microsoft.com/office/powerpoint/2010/main" val="16681766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D8BE7-EC94-413E-AD47-7E9D58CF5C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889A91-9BB9-4535-B567-20B09C1AC8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5625FFE-942C-42A8-8987-59A1CFAD1F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E33773-3245-445F-BE84-05EE56427BFF}"/>
              </a:ext>
            </a:extLst>
          </p:cNvPr>
          <p:cNvSpPr>
            <a:spLocks noGrp="1"/>
          </p:cNvSpPr>
          <p:nvPr>
            <p:ph type="dt" sz="half" idx="10"/>
          </p:nvPr>
        </p:nvSpPr>
        <p:spPr/>
        <p:txBody>
          <a:bodyPr/>
          <a:lstStyle/>
          <a:p>
            <a:fld id="{4F4DE817-85B7-4E3B-A753-E2244587DA06}" type="datetimeFigureOut">
              <a:rPr lang="en-US" smtClean="0"/>
              <a:t>11/15/2019</a:t>
            </a:fld>
            <a:endParaRPr lang="en-US"/>
          </a:p>
        </p:txBody>
      </p:sp>
      <p:sp>
        <p:nvSpPr>
          <p:cNvPr id="6" name="Footer Placeholder 5">
            <a:extLst>
              <a:ext uri="{FF2B5EF4-FFF2-40B4-BE49-F238E27FC236}">
                <a16:creationId xmlns:a16="http://schemas.microsoft.com/office/drawing/2014/main" id="{ADAA0B9C-B571-42FA-8A8A-AD7B89B509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A0C601-93B4-47E0-BF46-B423C506A167}"/>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63536260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ACCD8-0FE3-2C45-ADCE-18AB80B86A2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C6E011-4888-B540-8560-66D472C971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D8DB0-5FAF-D540-A1D0-6BE9EE2E165E}"/>
              </a:ext>
            </a:extLst>
          </p:cNvPr>
          <p:cNvSpPr>
            <a:spLocks noGrp="1"/>
          </p:cNvSpPr>
          <p:nvPr>
            <p:ph type="dt" sz="half" idx="10"/>
          </p:nvPr>
        </p:nvSpPr>
        <p:spPr/>
        <p:txBody>
          <a:bodyPr/>
          <a:lstStyle/>
          <a:p>
            <a:fld id="{6D6CC102-452E-3346-89D8-CA36DDA94688}" type="datetimeFigureOut">
              <a:rPr lang="en-US" smtClean="0"/>
              <a:t>11/15/2019</a:t>
            </a:fld>
            <a:endParaRPr lang="en-US"/>
          </a:p>
        </p:txBody>
      </p:sp>
      <p:sp>
        <p:nvSpPr>
          <p:cNvPr id="5" name="Footer Placeholder 4">
            <a:extLst>
              <a:ext uri="{FF2B5EF4-FFF2-40B4-BE49-F238E27FC236}">
                <a16:creationId xmlns:a16="http://schemas.microsoft.com/office/drawing/2014/main" id="{FE957A3D-E176-E04B-A92B-567DB30500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7D0A4E-D0D3-0F43-8C64-65DD81881E8C}"/>
              </a:ext>
            </a:extLst>
          </p:cNvPr>
          <p:cNvSpPr>
            <a:spLocks noGrp="1"/>
          </p:cNvSpPr>
          <p:nvPr>
            <p:ph type="sldNum" sz="quarter" idx="12"/>
          </p:nvPr>
        </p:nvSpPr>
        <p:spPr/>
        <p:txBody>
          <a:bodyPr/>
          <a:lstStyle/>
          <a:p>
            <a:fld id="{1766D3B5-3207-034E-8F86-8B6C8ECF3EB7}" type="slidenum">
              <a:rPr lang="en-US" smtClean="0"/>
              <a:t>‹#›</a:t>
            </a:fld>
            <a:endParaRPr lang="en-US"/>
          </a:p>
        </p:txBody>
      </p:sp>
    </p:spTree>
    <p:extLst>
      <p:ext uri="{BB962C8B-B14F-4D97-AF65-F5344CB8AC3E}">
        <p14:creationId xmlns:p14="http://schemas.microsoft.com/office/powerpoint/2010/main" val="5967639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3D7952D-0CB1-4ED7-A89C-A149A0F9A488}" type="datetimeFigureOut">
              <a:rPr lang="en-GB" smtClean="0"/>
              <a:t>15/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6B78235-5C68-4764-BE0D-F22198E245EE}" type="slidenum">
              <a:rPr lang="en-GB" smtClean="0"/>
              <a:t>‹#›</a:t>
            </a:fld>
            <a:endParaRPr lang="en-GB"/>
          </a:p>
        </p:txBody>
      </p:sp>
    </p:spTree>
    <p:extLst>
      <p:ext uri="{BB962C8B-B14F-4D97-AF65-F5344CB8AC3E}">
        <p14:creationId xmlns:p14="http://schemas.microsoft.com/office/powerpoint/2010/main" val="31137516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795226"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761636"/>
          </a:xfrm>
        </p:spPr>
        <p:txBody>
          <a:bodyPr lIns="182880" tIns="146304" rIns="182880" bIns="146304"/>
          <a:lstStyle>
            <a:lvl1pPr marL="0" indent="0">
              <a:buNone/>
              <a:defRPr sz="5293"/>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5" y="259969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761636"/>
          </a:xfrm>
        </p:spPr>
        <p:txBody>
          <a:bodyPr lIns="182880" tIns="146304" rIns="182880" bIns="146304"/>
          <a:lstStyle>
            <a:lvl1pPr marL="0" indent="0">
              <a:buNone/>
              <a:defRPr sz="5293"/>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5" y="337802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761636"/>
          </a:xfrm>
        </p:spPr>
        <p:txBody>
          <a:bodyPr lIns="182880" tIns="146304" rIns="182880" bIns="146304"/>
          <a:lstStyle>
            <a:lvl1pPr marL="0" indent="0">
              <a:buNone/>
              <a:defRPr sz="5293"/>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312563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8020194"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666874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6019331"/>
            <a:ext cx="3585699" cy="544765"/>
          </a:xfrm>
        </p:spPr>
        <p:txBody>
          <a:bodyPr lIns="182880" tIns="146304" rIns="182880" bIns="146304" anchor="b"/>
          <a:lstStyle>
            <a:lvl1pPr marL="0" indent="0" algn="l">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632" y="468770"/>
            <a:ext cx="1390452" cy="306125"/>
          </a:xfrm>
          <a:prstGeom prst="rect">
            <a:avLst/>
          </a:prstGeom>
        </p:spPr>
      </p:pic>
    </p:spTree>
    <p:extLst>
      <p:ext uri="{BB962C8B-B14F-4D97-AF65-F5344CB8AC3E}">
        <p14:creationId xmlns:p14="http://schemas.microsoft.com/office/powerpoint/2010/main" val="1145959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1"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702599"/>
            <a:ext cx="3585699" cy="567015"/>
          </a:xfrm>
        </p:spPr>
        <p:txBody>
          <a:bodyPr lIns="182880" tIns="146304" rIns="182880" bIns="146304" anchor="ctr"/>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746233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1"/>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75934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1" y="2702561"/>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633" y="470067"/>
            <a:ext cx="1423303" cy="304977"/>
          </a:xfrm>
          <a:prstGeom prst="rect">
            <a:avLst/>
          </a:prstGeom>
        </p:spPr>
      </p:pic>
    </p:spTree>
    <p:extLst>
      <p:ext uri="{BB962C8B-B14F-4D97-AF65-F5344CB8AC3E}">
        <p14:creationId xmlns:p14="http://schemas.microsoft.com/office/powerpoint/2010/main" val="1381618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1792927"/>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descr="A square divided into four sub-squares, colored red, green, yellow and blue (clockwise), with the company name appearing to its right.">
            <a:extLst>
              <a:ext uri="{FF2B5EF4-FFF2-40B4-BE49-F238E27FC236}">
                <a16:creationId xmlns:a16="http://schemas.microsoft.com/office/drawing/2014/main" id="{D9680F79-B0AA-437A-BC20-62EA7531343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057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4" y="1187645"/>
            <a:ext cx="11655078" cy="179292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69F9565B-2FA2-4E22-AF78-46EB427BB5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85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7.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heme" Target="../theme/theme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heme" Target="../theme/theme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image" Target="../media/image7.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image" Target="../media/image7.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theme" Target="../theme/theme5.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74A4C2-B073-4555-B8B6-0D9063EEAE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22E21A-2FBB-4C44-B268-B025503E11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EF32A8-1CC9-430C-AF9F-57FB4D4C6A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4DE817-85B7-4E3B-A753-E2244587DA06}" type="datetimeFigureOut">
              <a:rPr lang="en-US" smtClean="0"/>
              <a:t>11/15/2019</a:t>
            </a:fld>
            <a:endParaRPr lang="en-US"/>
          </a:p>
        </p:txBody>
      </p:sp>
      <p:sp>
        <p:nvSpPr>
          <p:cNvPr id="5" name="Footer Placeholder 4">
            <a:extLst>
              <a:ext uri="{FF2B5EF4-FFF2-40B4-BE49-F238E27FC236}">
                <a16:creationId xmlns:a16="http://schemas.microsoft.com/office/drawing/2014/main" id="{8812410C-9F68-4459-AFAC-BFF596A0A8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55FB8A-594B-41DB-B32D-33ACA0A45E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464736-8B66-489A-8CC8-55AA222BCBF7}" type="slidenum">
              <a:rPr lang="en-US" smtClean="0"/>
              <a:t>‹#›</a:t>
            </a:fld>
            <a:endParaRPr lang="en-US"/>
          </a:p>
        </p:txBody>
      </p:sp>
    </p:spTree>
    <p:extLst>
      <p:ext uri="{BB962C8B-B14F-4D97-AF65-F5344CB8AC3E}">
        <p14:creationId xmlns:p14="http://schemas.microsoft.com/office/powerpoint/2010/main" val="2010590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0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fld id="{A34B8C21-472C-43AD-8B9F-5964D09AB204}" type="slidenum">
              <a:rPr lang="en-IN" smtClean="0"/>
              <a:pPr/>
              <a:t>‹#›</a:t>
            </a:fld>
            <a:endParaRPr lang="en-IN"/>
          </a:p>
        </p:txBody>
      </p:sp>
    </p:spTree>
    <p:extLst>
      <p:ext uri="{BB962C8B-B14F-4D97-AF65-F5344CB8AC3E}">
        <p14:creationId xmlns:p14="http://schemas.microsoft.com/office/powerpoint/2010/main" val="669373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34" r:id="rId40"/>
  </p:sldLayoutIdLst>
  <p:transition>
    <p:fade/>
  </p:transition>
  <p:hf hdr="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557739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8883115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185588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pic>
        <p:nvPicPr>
          <p:cNvPr id="6" name="Picture 5">
            <a:extLst>
              <a:ext uri="{FF2B5EF4-FFF2-40B4-BE49-F238E27FC236}">
                <a16:creationId xmlns:a16="http://schemas.microsoft.com/office/drawing/2014/main" id="{CAE7C2F3-3E52-4E81-B71D-701517C447E5}"/>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7693550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Lst>
  <p:transition>
    <p:fade/>
  </p:transition>
  <p:txStyles>
    <p:titleStyle>
      <a:lvl1pPr algn="l" defTabSz="914192" rtl="0" eaLnBrk="1" latinLnBrk="0" hangingPunct="1">
        <a:lnSpc>
          <a:spcPct val="90000"/>
        </a:lnSpc>
        <a:spcBef>
          <a:spcPct val="0"/>
        </a:spcBef>
        <a:buNone/>
        <a:defRPr lang="en-US" sz="3921"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26.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74.xml"/><Relationship Id="rId6" Type="http://schemas.openxmlformats.org/officeDocument/2006/relationships/diagramColors" Target="../diagrams/colors1.xml"/><Relationship Id="rId11" Type="http://schemas.openxmlformats.org/officeDocument/2006/relationships/image" Target="../media/image48.png"/><Relationship Id="rId5" Type="http://schemas.openxmlformats.org/officeDocument/2006/relationships/diagramQuickStyle" Target="../diagrams/quickStyle1.xml"/><Relationship Id="rId10" Type="http://schemas.openxmlformats.org/officeDocument/2006/relationships/image" Target="../media/image47.png"/><Relationship Id="rId4" Type="http://schemas.openxmlformats.org/officeDocument/2006/relationships/diagramLayout" Target="../diagrams/layout1.xml"/><Relationship Id="rId9" Type="http://schemas.openxmlformats.org/officeDocument/2006/relationships/image" Target="../media/image46.png"/></Relationships>
</file>

<file path=ppt/slides/_rels/slide2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74.xml"/><Relationship Id="rId6" Type="http://schemas.openxmlformats.org/officeDocument/2006/relationships/diagramColors" Target="../diagrams/colors2.xml"/><Relationship Id="rId11" Type="http://schemas.openxmlformats.org/officeDocument/2006/relationships/image" Target="../media/image53.png"/><Relationship Id="rId5" Type="http://schemas.openxmlformats.org/officeDocument/2006/relationships/diagramQuickStyle" Target="../diagrams/quickStyle2.xml"/><Relationship Id="rId10" Type="http://schemas.openxmlformats.org/officeDocument/2006/relationships/image" Target="../media/image52.png"/><Relationship Id="rId4" Type="http://schemas.openxmlformats.org/officeDocument/2006/relationships/diagramLayout" Target="../diagrams/layout2.xml"/><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84388"/>
            <a:ext cx="11652250" cy="2139950"/>
          </a:xfrm>
        </p:spPr>
        <p:txBody>
          <a:bodyPr/>
          <a:lstStyle/>
          <a:p>
            <a:r>
              <a:rPr lang="en-US" sz="4700">
                <a:cs typeface="Segoe UI"/>
              </a:rPr>
              <a:t>Blockchain App in a Day Workshop</a:t>
            </a:r>
            <a:br>
              <a:rPr lang="en-US" sz="4700" dirty="0">
                <a:cs typeface="Segoe UI Light"/>
              </a:rPr>
            </a:br>
            <a:br>
              <a:rPr lang="en-US" sz="4700" dirty="0">
                <a:cs typeface="Segoe UI Light"/>
              </a:rPr>
            </a:br>
            <a:r>
              <a:rPr lang="en-US" sz="4000">
                <a:cs typeface="Segoe UI Light"/>
              </a:rPr>
              <a:t>Presenters</a:t>
            </a:r>
            <a:br>
              <a:rPr lang="en-US" sz="4000">
                <a:cs typeface="Segoe UI Light"/>
              </a:rPr>
            </a:br>
            <a:r>
              <a:rPr lang="en-US" sz="4000">
                <a:cs typeface="Segoe UI Light"/>
              </a:rPr>
              <a:t>Companies</a:t>
            </a:r>
          </a:p>
        </p:txBody>
      </p:sp>
    </p:spTree>
    <p:extLst>
      <p:ext uri="{BB962C8B-B14F-4D97-AF65-F5344CB8AC3E}">
        <p14:creationId xmlns:p14="http://schemas.microsoft.com/office/powerpoint/2010/main" val="5631595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Azure Blockchain Workbench Solution Review</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ea typeface="+mn-lt"/>
                <a:cs typeface="+mn-lt"/>
              </a:rPr>
              <a:t>Demonstrate and review a completed Azure Blockchain Workbench solution</a:t>
            </a:r>
            <a:endParaRPr lang="en-US" dirty="0"/>
          </a:p>
          <a:p>
            <a:r>
              <a:rPr lang="en-US" dirty="0">
                <a:cs typeface="Calibri" panose="020F0502020204030204"/>
              </a:rPr>
              <a:t>Asset Transfer Application demonstration</a:t>
            </a:r>
          </a:p>
          <a:p>
            <a:pPr marL="0" indent="0">
              <a:buNone/>
            </a:pPr>
            <a:endParaRPr lang="en-US" dirty="0">
              <a:cs typeface="Calibri" panose="020F0502020204030204"/>
            </a:endParaRPr>
          </a:p>
        </p:txBody>
      </p:sp>
    </p:spTree>
    <p:extLst>
      <p:ext uri="{BB962C8B-B14F-4D97-AF65-F5344CB8AC3E}">
        <p14:creationId xmlns:p14="http://schemas.microsoft.com/office/powerpoint/2010/main" val="1305831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Azure Blockchain Workbench, Sample Solution, Code Walkthrough</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ea typeface="+mn-lt"/>
                <a:cs typeface="+mn-lt"/>
              </a:rPr>
              <a:t>Azure Blockchain Workbench architecture</a:t>
            </a:r>
          </a:p>
          <a:p>
            <a:r>
              <a:rPr lang="en-US" dirty="0">
                <a:ea typeface="+mn-lt"/>
                <a:cs typeface="+mn-lt"/>
              </a:rPr>
              <a:t>Deploy sample solution</a:t>
            </a:r>
            <a:endParaRPr lang="en-US" dirty="0">
              <a:cs typeface="Calibri" panose="020F0502020204030204"/>
            </a:endParaRPr>
          </a:p>
          <a:p>
            <a:r>
              <a:rPr lang="en-US" dirty="0">
                <a:ea typeface="+mn-lt"/>
                <a:cs typeface="+mn-lt"/>
              </a:rPr>
              <a:t>Hands-on walkthrough of Solidity code and Azure Blockchain Workbench solution configuration</a:t>
            </a:r>
            <a:endParaRPr lang="en-US" dirty="0">
              <a:cs typeface="Calibri" panose="020F0502020204030204"/>
            </a:endParaRPr>
          </a:p>
          <a:p>
            <a:pPr marL="0" indent="0">
              <a:buNone/>
            </a:pPr>
            <a:endParaRPr lang="en-US" dirty="0">
              <a:cs typeface="Calibri" panose="020F0502020204030204"/>
            </a:endParaRPr>
          </a:p>
        </p:txBody>
      </p:sp>
    </p:spTree>
    <p:extLst>
      <p:ext uri="{BB962C8B-B14F-4D97-AF65-F5344CB8AC3E}">
        <p14:creationId xmlns:p14="http://schemas.microsoft.com/office/powerpoint/2010/main" val="3987016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899993"/>
          </a:xfrm>
        </p:spPr>
        <p:txBody>
          <a:bodyPr/>
          <a:lstStyle/>
          <a:p>
            <a:r>
              <a:rPr lang="en-US" sz="3600">
                <a:cs typeface="Segoe UI"/>
              </a:rPr>
              <a:t>Azure Blockchain Workbench Architecture</a:t>
            </a:r>
            <a:endParaRPr lang="en-US"/>
          </a:p>
        </p:txBody>
      </p:sp>
      <p:cxnSp>
        <p:nvCxnSpPr>
          <p:cNvPr id="10" name="Straight Connector 9">
            <a:extLst>
              <a:ext uri="{FF2B5EF4-FFF2-40B4-BE49-F238E27FC236}">
                <a16:creationId xmlns:a16="http://schemas.microsoft.com/office/drawing/2014/main" id="{FFF1242F-B270-4B45-A4F1-93A53C683E65}"/>
              </a:ext>
            </a:extLst>
          </p:cNvPr>
          <p:cNvCxnSpPr>
            <a:cxnSpLocks/>
          </p:cNvCxnSpPr>
          <p:nvPr/>
        </p:nvCxnSpPr>
        <p:spPr>
          <a:xfrm>
            <a:off x="4965290" y="1502978"/>
            <a:ext cx="0" cy="4425874"/>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A6F3604-45E5-6942-8EC9-32C8DA9BA187}"/>
              </a:ext>
            </a:extLst>
          </p:cNvPr>
          <p:cNvSpPr txBox="1"/>
          <p:nvPr/>
        </p:nvSpPr>
        <p:spPr>
          <a:xfrm>
            <a:off x="381895" y="1916907"/>
            <a:ext cx="4396581" cy="3136243"/>
          </a:xfrm>
          <a:prstGeom prst="rect">
            <a:avLst/>
          </a:prstGeom>
          <a:noFill/>
        </p:spPr>
        <p:txBody>
          <a:bodyPr wrap="square" lIns="182880" tIns="146304" rIns="182880" bIns="146304" rtlCol="0" anchor="t">
            <a:spAutoFit/>
          </a:bodyPr>
          <a:lstStyle/>
          <a:p>
            <a:pPr>
              <a:lnSpc>
                <a:spcPct val="90000"/>
              </a:lnSpc>
              <a:spcAft>
                <a:spcPts val="600"/>
              </a:spcAft>
              <a:defRPr/>
            </a:pPr>
            <a:r>
              <a:rPr lang="en-US" b="1" u="sng" kern="0" dirty="0">
                <a:solidFill>
                  <a:srgbClr val="505050"/>
                </a:solidFill>
                <a:latin typeface="Segoe UI"/>
                <a:cs typeface="Segoe UI"/>
              </a:rPr>
              <a:t>Rapid Prototyping for Blockchain Applications</a:t>
            </a:r>
            <a:endParaRPr lang="en-US" sz="1800" b="1" i="0" u="sng" strike="noStrike" kern="0" cap="none" spc="0" normalizeH="0" baseline="0" noProof="0" dirty="0">
              <a:ln>
                <a:noFill/>
              </a:ln>
              <a:solidFill>
                <a:srgbClr val="505050"/>
              </a:solidFill>
              <a:effectLst/>
              <a:uLnTx/>
              <a:uFillTx/>
              <a:latin typeface="Segoe UI"/>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a:lnSpc>
                <a:spcPct val="90000"/>
              </a:lnSpc>
              <a:spcAft>
                <a:spcPts val="600"/>
              </a:spcAft>
              <a:defRPr/>
            </a:pPr>
            <a:r>
              <a:rPr lang="en-US" sz="1400" kern="0" dirty="0">
                <a:ea typeface="+mn-lt"/>
                <a:cs typeface="+mn-lt"/>
              </a:rPr>
              <a:t>Azure Blockchain Workbench is the fastest way to get started with blockchain on Azure. This tool allows developers to deploy a blockchain ledger along with a set of relevant Azure services most often used to build a blockchain-based application. Rather than spending hours configuring the required infrastructure and cloud services, we have automated the time-consuming scaffolding to simplify development and allow users to focus on application logic and workflows.</a:t>
            </a:r>
            <a:endParaRPr lang="en-US" dirty="0"/>
          </a:p>
        </p:txBody>
      </p:sp>
      <p:pic>
        <p:nvPicPr>
          <p:cNvPr id="9" name="Picture 11" descr="A screenshot of a social media post&#10;&#10;Description generated with very high confidence">
            <a:extLst>
              <a:ext uri="{FF2B5EF4-FFF2-40B4-BE49-F238E27FC236}">
                <a16:creationId xmlns:a16="http://schemas.microsoft.com/office/drawing/2014/main" id="{DCDD2B7C-05DD-4D43-8B32-AE3B77A097EA}"/>
              </a:ext>
            </a:extLst>
          </p:cNvPr>
          <p:cNvPicPr>
            <a:picLocks noChangeAspect="1"/>
          </p:cNvPicPr>
          <p:nvPr/>
        </p:nvPicPr>
        <p:blipFill>
          <a:blip r:embed="rId3"/>
          <a:stretch>
            <a:fillRect/>
          </a:stretch>
        </p:blipFill>
        <p:spPr>
          <a:xfrm>
            <a:off x="5249718" y="1500583"/>
            <a:ext cx="6616699" cy="3833742"/>
          </a:xfrm>
          <a:prstGeom prst="rect">
            <a:avLst/>
          </a:prstGeom>
        </p:spPr>
      </p:pic>
    </p:spTree>
    <p:extLst>
      <p:ext uri="{BB962C8B-B14F-4D97-AF65-F5344CB8AC3E}">
        <p14:creationId xmlns:p14="http://schemas.microsoft.com/office/powerpoint/2010/main" val="36441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899993"/>
          </a:xfrm>
        </p:spPr>
        <p:txBody>
          <a:bodyPr/>
          <a:lstStyle/>
          <a:p>
            <a:r>
              <a:rPr lang="en-US" sz="3600">
                <a:latin typeface="Calibri"/>
                <a:cs typeface="Calibri"/>
              </a:rPr>
              <a:t>Deploy sample solution</a:t>
            </a:r>
            <a:endParaRPr lang="en-US" sz="3600">
              <a:ea typeface="+mj-lt"/>
              <a:cs typeface="+mj-lt"/>
            </a:endParaRPr>
          </a:p>
          <a:p>
            <a:endParaRPr lang="en-US" sz="3600" dirty="0"/>
          </a:p>
        </p:txBody>
      </p:sp>
      <p:cxnSp>
        <p:nvCxnSpPr>
          <p:cNvPr id="10" name="Straight Connector 9">
            <a:extLst>
              <a:ext uri="{FF2B5EF4-FFF2-40B4-BE49-F238E27FC236}">
                <a16:creationId xmlns:a16="http://schemas.microsoft.com/office/drawing/2014/main" id="{FFF1242F-B270-4B45-A4F1-93A53C683E65}"/>
              </a:ext>
            </a:extLst>
          </p:cNvPr>
          <p:cNvCxnSpPr>
            <a:cxnSpLocks/>
          </p:cNvCxnSpPr>
          <p:nvPr/>
        </p:nvCxnSpPr>
        <p:spPr>
          <a:xfrm>
            <a:off x="4965290" y="1502978"/>
            <a:ext cx="0" cy="4425874"/>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A6F3604-45E5-6942-8EC9-32C8DA9BA187}"/>
              </a:ext>
            </a:extLst>
          </p:cNvPr>
          <p:cNvSpPr txBox="1"/>
          <p:nvPr/>
        </p:nvSpPr>
        <p:spPr>
          <a:xfrm>
            <a:off x="381895" y="1916907"/>
            <a:ext cx="4396581" cy="3970318"/>
          </a:xfrm>
          <a:prstGeom prst="rect">
            <a:avLst/>
          </a:prstGeom>
          <a:noFill/>
        </p:spPr>
        <p:txBody>
          <a:bodyPr wrap="square" lIns="182880" tIns="146304" rIns="182880" bIns="146304" rtlCol="0" anchor="t">
            <a:spAutoFit/>
          </a:bodyPr>
          <a:lstStyle/>
          <a:p>
            <a:pPr>
              <a:lnSpc>
                <a:spcPct val="90000"/>
              </a:lnSpc>
              <a:spcAft>
                <a:spcPts val="600"/>
              </a:spcAft>
              <a:defRPr/>
            </a:pPr>
            <a:r>
              <a:rPr lang="en-US" b="1" u="sng" kern="0" dirty="0">
                <a:solidFill>
                  <a:srgbClr val="505050"/>
                </a:solidFill>
                <a:latin typeface="Segoe UI"/>
                <a:cs typeface="Segoe UI"/>
              </a:rPr>
              <a:t>Deploy the Asset Transfer Sample</a:t>
            </a:r>
            <a:endParaRPr lang="en-US" sz="1800" b="1" i="0" u="sng" strike="noStrike" kern="0" cap="none" spc="0" normalizeH="0" baseline="0" noProof="0" dirty="0">
              <a:ln>
                <a:noFill/>
              </a:ln>
              <a:solidFill>
                <a:srgbClr val="505050"/>
              </a:solidFill>
              <a:effectLst/>
              <a:uLnTx/>
              <a:uFillTx/>
              <a:latin typeface="Segoe UI"/>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a:lnSpc>
                <a:spcPct val="90000"/>
              </a:lnSpc>
              <a:spcAft>
                <a:spcPts val="600"/>
              </a:spcAft>
              <a:defRPr/>
            </a:pPr>
            <a:r>
              <a:rPr lang="en-US" sz="1400" kern="0" dirty="0">
                <a:ea typeface="+mn-lt"/>
                <a:cs typeface="+mn-lt"/>
              </a:rPr>
              <a:t>The Asset Transfer sample blockchain application is included in the workshop GitHub repository under the code folder.</a:t>
            </a:r>
          </a:p>
          <a:p>
            <a:pPr>
              <a:lnSpc>
                <a:spcPct val="90000"/>
              </a:lnSpc>
              <a:spcAft>
                <a:spcPts val="600"/>
              </a:spcAft>
              <a:defRPr/>
            </a:pPr>
            <a:endParaRPr lang="en-US" sz="1400" kern="0" dirty="0">
              <a:cs typeface="Segoe UI"/>
            </a:endParaRPr>
          </a:p>
          <a:p>
            <a:pPr>
              <a:lnSpc>
                <a:spcPct val="90000"/>
              </a:lnSpc>
              <a:spcAft>
                <a:spcPts val="600"/>
              </a:spcAft>
              <a:defRPr/>
            </a:pPr>
            <a:r>
              <a:rPr lang="en-US" sz="1400" kern="0" dirty="0">
                <a:cs typeface="Segoe UI"/>
              </a:rPr>
              <a:t>From your Azure Blockchain Workbench portal, you'll create a New Application by uploading the Asset Transfer .json and .sol files to Azure Blockchain Workbench.</a:t>
            </a:r>
          </a:p>
          <a:p>
            <a:pPr>
              <a:lnSpc>
                <a:spcPct val="90000"/>
              </a:lnSpc>
              <a:spcAft>
                <a:spcPts val="600"/>
              </a:spcAft>
              <a:defRPr/>
            </a:pPr>
            <a:endParaRPr lang="en-US" sz="1400" kern="0" dirty="0">
              <a:cs typeface="Segoe UI"/>
            </a:endParaRPr>
          </a:p>
          <a:p>
            <a:pPr>
              <a:lnSpc>
                <a:spcPct val="90000"/>
              </a:lnSpc>
              <a:spcAft>
                <a:spcPts val="600"/>
              </a:spcAft>
              <a:defRPr/>
            </a:pPr>
            <a:r>
              <a:rPr lang="en-US" sz="1400" kern="0" dirty="0">
                <a:cs typeface="Segoe UI"/>
              </a:rPr>
              <a:t>Using either the portal or PowerShell, you'll create users for the Asset Transfer roles in your application Azure Active Directory namespace created prior to the workshop.  You'll then assign these users to the required roles.</a:t>
            </a:r>
          </a:p>
        </p:txBody>
      </p:sp>
      <p:pic>
        <p:nvPicPr>
          <p:cNvPr id="3" name="Picture 3" descr="A screenshot of a cell phone&#10;&#10;Description generated with very high confidence">
            <a:extLst>
              <a:ext uri="{FF2B5EF4-FFF2-40B4-BE49-F238E27FC236}">
                <a16:creationId xmlns:a16="http://schemas.microsoft.com/office/drawing/2014/main" id="{F6EEE416-443D-417A-9491-D4CD274633A1}"/>
              </a:ext>
            </a:extLst>
          </p:cNvPr>
          <p:cNvPicPr>
            <a:picLocks noChangeAspect="1"/>
          </p:cNvPicPr>
          <p:nvPr/>
        </p:nvPicPr>
        <p:blipFill>
          <a:blip r:embed="rId3"/>
          <a:stretch>
            <a:fillRect/>
          </a:stretch>
        </p:blipFill>
        <p:spPr>
          <a:xfrm>
            <a:off x="5763490" y="1505223"/>
            <a:ext cx="4382654" cy="4465236"/>
          </a:xfrm>
          <a:prstGeom prst="rect">
            <a:avLst/>
          </a:prstGeom>
        </p:spPr>
      </p:pic>
    </p:spTree>
    <p:extLst>
      <p:ext uri="{BB962C8B-B14F-4D97-AF65-F5344CB8AC3E}">
        <p14:creationId xmlns:p14="http://schemas.microsoft.com/office/powerpoint/2010/main" val="9718696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899993"/>
          </a:xfrm>
        </p:spPr>
        <p:txBody>
          <a:bodyPr/>
          <a:lstStyle/>
          <a:p>
            <a:r>
              <a:rPr lang="en-US" sz="3600">
                <a:latin typeface="Calibri"/>
                <a:cs typeface="Calibri"/>
              </a:rPr>
              <a:t>Code and Solution Configuration Walkthrough </a:t>
            </a:r>
            <a:endParaRPr lang="en-US"/>
          </a:p>
          <a:p>
            <a:endParaRPr lang="en-US" sz="3600" dirty="0"/>
          </a:p>
        </p:txBody>
      </p:sp>
      <p:cxnSp>
        <p:nvCxnSpPr>
          <p:cNvPr id="10" name="Straight Connector 9">
            <a:extLst>
              <a:ext uri="{FF2B5EF4-FFF2-40B4-BE49-F238E27FC236}">
                <a16:creationId xmlns:a16="http://schemas.microsoft.com/office/drawing/2014/main" id="{FFF1242F-B270-4B45-A4F1-93A53C683E65}"/>
              </a:ext>
            </a:extLst>
          </p:cNvPr>
          <p:cNvCxnSpPr>
            <a:cxnSpLocks/>
          </p:cNvCxnSpPr>
          <p:nvPr/>
        </p:nvCxnSpPr>
        <p:spPr>
          <a:xfrm>
            <a:off x="4965290" y="1502978"/>
            <a:ext cx="0" cy="4425874"/>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A6F3604-45E5-6942-8EC9-32C8DA9BA187}"/>
              </a:ext>
            </a:extLst>
          </p:cNvPr>
          <p:cNvSpPr txBox="1"/>
          <p:nvPr/>
        </p:nvSpPr>
        <p:spPr>
          <a:xfrm>
            <a:off x="381895" y="1916907"/>
            <a:ext cx="4396581" cy="2846933"/>
          </a:xfrm>
          <a:prstGeom prst="rect">
            <a:avLst/>
          </a:prstGeom>
          <a:noFill/>
        </p:spPr>
        <p:txBody>
          <a:bodyPr wrap="square" lIns="182880" tIns="146304" rIns="182880" bIns="146304" rtlCol="0" anchor="t">
            <a:spAutoFit/>
          </a:bodyPr>
          <a:lstStyle/>
          <a:p>
            <a:pPr>
              <a:lnSpc>
                <a:spcPct val="90000"/>
              </a:lnSpc>
              <a:spcAft>
                <a:spcPts val="600"/>
              </a:spcAft>
              <a:defRPr/>
            </a:pPr>
            <a:r>
              <a:rPr lang="en-US" b="1" u="sng" kern="0" dirty="0">
                <a:solidFill>
                  <a:srgbClr val="505050"/>
                </a:solidFill>
                <a:latin typeface="Segoe UI"/>
                <a:cs typeface="Segoe UI"/>
              </a:rPr>
              <a:t>Code and Solution Configuration</a:t>
            </a:r>
            <a:endParaRPr lang="en-US" dirty="0"/>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a:lnSpc>
                <a:spcPct val="90000"/>
              </a:lnSpc>
              <a:spcAft>
                <a:spcPts val="600"/>
              </a:spcAft>
              <a:defRPr/>
            </a:pPr>
            <a:r>
              <a:rPr lang="en-US" sz="1400" kern="0" dirty="0">
                <a:ea typeface="+mn-lt"/>
                <a:cs typeface="+mn-lt"/>
              </a:rPr>
              <a:t>The blockchain code is written in Solidity using Visual Studio Code – you should have completed the setup prerequisites prior to the workshop.</a:t>
            </a:r>
          </a:p>
          <a:p>
            <a:pPr>
              <a:lnSpc>
                <a:spcPct val="90000"/>
              </a:lnSpc>
              <a:spcAft>
                <a:spcPts val="600"/>
              </a:spcAft>
              <a:defRPr/>
            </a:pPr>
            <a:endParaRPr lang="en-US" sz="1400" kern="0" dirty="0">
              <a:cs typeface="Segoe UI"/>
            </a:endParaRPr>
          </a:p>
          <a:p>
            <a:pPr>
              <a:lnSpc>
                <a:spcPct val="90000"/>
              </a:lnSpc>
              <a:spcAft>
                <a:spcPts val="600"/>
              </a:spcAft>
              <a:defRPr/>
            </a:pPr>
            <a:r>
              <a:rPr lang="en-US" sz="1400" kern="0" dirty="0">
                <a:cs typeface="Segoe UI"/>
              </a:rPr>
              <a:t>Azure Blockchain Workbench enables extending the solution for events, IoT, data analysis, logic apps, etc.  Understanding the configuration of these services and extensibility model is imperative to create MVPs for the enterprise.</a:t>
            </a:r>
          </a:p>
        </p:txBody>
      </p:sp>
      <p:pic>
        <p:nvPicPr>
          <p:cNvPr id="4" name="Picture 4" descr="A screenshot of a cell phone&#10;&#10;Description generated with very high confidence">
            <a:extLst>
              <a:ext uri="{FF2B5EF4-FFF2-40B4-BE49-F238E27FC236}">
                <a16:creationId xmlns:a16="http://schemas.microsoft.com/office/drawing/2014/main" id="{8AC613F4-05F3-4682-9F7C-01E2E5A561CB}"/>
              </a:ext>
            </a:extLst>
          </p:cNvPr>
          <p:cNvPicPr>
            <a:picLocks noChangeAspect="1"/>
          </p:cNvPicPr>
          <p:nvPr/>
        </p:nvPicPr>
        <p:blipFill>
          <a:blip r:embed="rId3"/>
          <a:stretch>
            <a:fillRect/>
          </a:stretch>
        </p:blipFill>
        <p:spPr>
          <a:xfrm>
            <a:off x="5151582" y="1505684"/>
            <a:ext cx="5658427" cy="4406585"/>
          </a:xfrm>
          <a:prstGeom prst="rect">
            <a:avLst/>
          </a:prstGeom>
        </p:spPr>
      </p:pic>
    </p:spTree>
    <p:extLst>
      <p:ext uri="{BB962C8B-B14F-4D97-AF65-F5344CB8AC3E}">
        <p14:creationId xmlns:p14="http://schemas.microsoft.com/office/powerpoint/2010/main" val="13613159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MVP - Solution Development and Deployment</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fontScale="92500" lnSpcReduction="20000"/>
          </a:bodyPr>
          <a:lstStyle/>
          <a:p>
            <a:r>
              <a:rPr lang="en-US" dirty="0"/>
              <a:t>Create an application story</a:t>
            </a:r>
          </a:p>
          <a:p>
            <a:r>
              <a:rPr lang="en-US" dirty="0"/>
              <a:t>Define application roles, states, workflow, and data elements</a:t>
            </a:r>
          </a:p>
          <a:p>
            <a:r>
              <a:rPr lang="en-US" dirty="0"/>
              <a:t>Code Solidity and JSON smart contract application files</a:t>
            </a:r>
          </a:p>
          <a:p>
            <a:r>
              <a:rPr lang="en-US" dirty="0"/>
              <a:t>Deploy Solidity and JSON files using Workbench</a:t>
            </a:r>
          </a:p>
          <a:p>
            <a:r>
              <a:rPr lang="en-US" dirty="0"/>
              <a:t>Create Azure AD users, add members as application users</a:t>
            </a:r>
          </a:p>
          <a:p>
            <a:r>
              <a:rPr lang="en-US" dirty="0"/>
              <a:t>Test application</a:t>
            </a:r>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1727171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Blockchain App in a Day - Process Flow</a:t>
            </a:r>
          </a:p>
        </p:txBody>
      </p:sp>
      <p:sp>
        <p:nvSpPr>
          <p:cNvPr id="11" name="TextBox 10"/>
          <p:cNvSpPr txBox="1"/>
          <p:nvPr/>
        </p:nvSpPr>
        <p:spPr>
          <a:xfrm>
            <a:off x="466542" y="2398509"/>
            <a:ext cx="220348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1 |</a:t>
            </a:r>
            <a:r>
              <a:rPr lang="en-US" sz="1600" dirty="0">
                <a:gradFill>
                  <a:gsLst>
                    <a:gs pos="2917">
                      <a:srgbClr val="505050"/>
                    </a:gs>
                    <a:gs pos="30000">
                      <a:srgbClr val="505050"/>
                    </a:gs>
                  </a:gsLst>
                  <a:lin ang="5400000" scaled="0"/>
                </a:gradFill>
              </a:rPr>
              <a:t> Create Story</a:t>
            </a:r>
          </a:p>
        </p:txBody>
      </p:sp>
      <p:sp>
        <p:nvSpPr>
          <p:cNvPr id="17" name="TextBox 16"/>
          <p:cNvSpPr txBox="1"/>
          <p:nvPr/>
        </p:nvSpPr>
        <p:spPr>
          <a:xfrm>
            <a:off x="241197" y="5769149"/>
            <a:ext cx="265072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2 |</a:t>
            </a:r>
            <a:r>
              <a:rPr lang="en-US" sz="1600" dirty="0">
                <a:gradFill>
                  <a:gsLst>
                    <a:gs pos="2917">
                      <a:srgbClr val="505050"/>
                    </a:gs>
                    <a:gs pos="30000">
                      <a:srgbClr val="505050"/>
                    </a:gs>
                  </a:gsLst>
                  <a:lin ang="5400000" scaled="0"/>
                </a:gradFill>
              </a:rPr>
              <a:t> Define App Roles</a:t>
            </a:r>
            <a:endParaRPr lang="en-US" sz="2000" dirty="0">
              <a:gradFill>
                <a:gsLst>
                  <a:gs pos="2917">
                    <a:srgbClr val="505050"/>
                  </a:gs>
                  <a:gs pos="30000">
                    <a:srgbClr val="505050"/>
                  </a:gs>
                </a:gsLst>
                <a:lin ang="5400000" scaled="0"/>
              </a:gradFill>
            </a:endParaRPr>
          </a:p>
        </p:txBody>
      </p:sp>
      <p:sp>
        <p:nvSpPr>
          <p:cNvPr id="20" name="TextBox 19"/>
          <p:cNvSpPr txBox="1"/>
          <p:nvPr/>
        </p:nvSpPr>
        <p:spPr>
          <a:xfrm>
            <a:off x="3373145" y="5628606"/>
            <a:ext cx="2394211" cy="815608"/>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3 |</a:t>
            </a:r>
            <a:r>
              <a:rPr lang="en-US" sz="1600" dirty="0">
                <a:gradFill>
                  <a:gsLst>
                    <a:gs pos="2917">
                      <a:srgbClr val="505050"/>
                    </a:gs>
                    <a:gs pos="30000">
                      <a:srgbClr val="505050"/>
                    </a:gs>
                  </a:gsLst>
                  <a:lin ang="5400000" scaled="0"/>
                </a:gradFill>
              </a:rPr>
              <a:t> Define Smart </a:t>
            </a:r>
          </a:p>
          <a:p>
            <a:pPr>
              <a:lnSpc>
                <a:spcPct val="90000"/>
              </a:lnSpc>
              <a:spcAft>
                <a:spcPts val="600"/>
              </a:spcAft>
            </a:pPr>
            <a:r>
              <a:rPr lang="en-US" sz="1600" dirty="0">
                <a:gradFill>
                  <a:gsLst>
                    <a:gs pos="2917">
                      <a:srgbClr val="505050"/>
                    </a:gs>
                    <a:gs pos="30000">
                      <a:srgbClr val="505050"/>
                    </a:gs>
                  </a:gsLst>
                  <a:lin ang="5400000" scaled="0"/>
                </a:gradFill>
              </a:rPr>
              <a:t>Contract States</a:t>
            </a:r>
            <a:endParaRPr lang="en-US" sz="2000" dirty="0">
              <a:gradFill>
                <a:gsLst>
                  <a:gs pos="2917">
                    <a:srgbClr val="505050"/>
                  </a:gs>
                  <a:gs pos="30000">
                    <a:srgbClr val="505050"/>
                  </a:gs>
                </a:gsLst>
                <a:lin ang="5400000" scaled="0"/>
              </a:gradFill>
            </a:endParaRPr>
          </a:p>
        </p:txBody>
      </p:sp>
      <p:sp>
        <p:nvSpPr>
          <p:cNvPr id="22" name="TextBox 21"/>
          <p:cNvSpPr txBox="1"/>
          <p:nvPr/>
        </p:nvSpPr>
        <p:spPr>
          <a:xfrm>
            <a:off x="3333116" y="2471916"/>
            <a:ext cx="247426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4 |</a:t>
            </a:r>
            <a:r>
              <a:rPr lang="en-US" sz="1600" dirty="0">
                <a:gradFill>
                  <a:gsLst>
                    <a:gs pos="2917">
                      <a:srgbClr val="505050"/>
                    </a:gs>
                    <a:gs pos="30000">
                      <a:srgbClr val="505050"/>
                    </a:gs>
                  </a:gsLst>
                  <a:lin ang="5400000" scaled="0"/>
                </a:gradFill>
              </a:rPr>
              <a:t> Draft Workflow</a:t>
            </a:r>
            <a:endParaRPr lang="en-US" sz="2000" dirty="0">
              <a:gradFill>
                <a:gsLst>
                  <a:gs pos="2917">
                    <a:srgbClr val="505050"/>
                  </a:gs>
                  <a:gs pos="30000">
                    <a:srgbClr val="505050"/>
                  </a:gs>
                </a:gsLst>
                <a:lin ang="5400000" scaled="0"/>
              </a:gradFill>
            </a:endParaRPr>
          </a:p>
        </p:txBody>
      </p:sp>
      <p:sp>
        <p:nvSpPr>
          <p:cNvPr id="26" name="Right Arrow 25"/>
          <p:cNvSpPr/>
          <p:nvPr/>
        </p:nvSpPr>
        <p:spPr bwMode="auto">
          <a:xfrm flipV="1">
            <a:off x="8984396" y="4975332"/>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ight Arrow 27"/>
          <p:cNvSpPr/>
          <p:nvPr/>
        </p:nvSpPr>
        <p:spPr bwMode="auto">
          <a:xfrm rot="16200000" flipV="1">
            <a:off x="4460328"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5635825" y="1308042"/>
            <a:ext cx="478486"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6017283" y="2446235"/>
            <a:ext cx="2949697"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5 |</a:t>
            </a:r>
            <a:r>
              <a:rPr lang="en-US" sz="1600" dirty="0">
                <a:gradFill>
                  <a:gsLst>
                    <a:gs pos="2917">
                      <a:srgbClr val="505050"/>
                    </a:gs>
                    <a:gs pos="30000">
                      <a:srgbClr val="505050"/>
                    </a:gs>
                  </a:gsLst>
                  <a:lin ang="5400000" scaled="0"/>
                </a:gradFill>
              </a:rPr>
              <a:t> Specify On-Chain Data</a:t>
            </a:r>
            <a:endParaRPr lang="en-US" sz="2000" dirty="0">
              <a:gradFill>
                <a:gsLst>
                  <a:gs pos="2917">
                    <a:srgbClr val="505050"/>
                  </a:gs>
                  <a:gs pos="30000">
                    <a:srgbClr val="505050"/>
                  </a:gs>
                </a:gsLst>
                <a:lin ang="5400000" scaled="0"/>
              </a:gradFill>
            </a:endParaRPr>
          </a:p>
        </p:txBody>
      </p:sp>
      <p:sp>
        <p:nvSpPr>
          <p:cNvPr id="35" name="TextBox 34"/>
          <p:cNvSpPr txBox="1"/>
          <p:nvPr/>
        </p:nvSpPr>
        <p:spPr>
          <a:xfrm>
            <a:off x="9659590" y="6037650"/>
            <a:ext cx="222221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7 |</a:t>
            </a:r>
            <a:r>
              <a:rPr lang="en-US" sz="1600" dirty="0">
                <a:gradFill>
                  <a:gsLst>
                    <a:gs pos="2917">
                      <a:srgbClr val="505050"/>
                    </a:gs>
                    <a:gs pos="30000">
                      <a:srgbClr val="505050"/>
                    </a:gs>
                  </a:gsLst>
                  <a:lin ang="5400000" scaled="0"/>
                </a:gradFill>
              </a:rPr>
              <a:t> Code Config</a:t>
            </a:r>
            <a:endParaRPr lang="en-US" sz="2000" dirty="0">
              <a:gradFill>
                <a:gsLst>
                  <a:gs pos="2917">
                    <a:srgbClr val="505050"/>
                  </a:gs>
                  <a:gs pos="30000">
                    <a:srgbClr val="505050"/>
                  </a:gs>
                </a:gsLst>
                <a:lin ang="5400000" scaled="0"/>
              </a:gradFill>
            </a:endParaRPr>
          </a:p>
        </p:txBody>
      </p:sp>
      <p:sp>
        <p:nvSpPr>
          <p:cNvPr id="39" name="TextBox 38"/>
          <p:cNvSpPr txBox="1"/>
          <p:nvPr/>
        </p:nvSpPr>
        <p:spPr>
          <a:xfrm>
            <a:off x="9437112" y="1741372"/>
            <a:ext cx="2715491"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9 |</a:t>
            </a:r>
            <a:r>
              <a:rPr lang="en-US" sz="1600" dirty="0">
                <a:gradFill>
                  <a:gsLst>
                    <a:gs pos="2917">
                      <a:srgbClr val="505050"/>
                    </a:gs>
                    <a:gs pos="30000">
                      <a:srgbClr val="505050"/>
                    </a:gs>
                  </a:gsLst>
                  <a:lin ang="5400000" scaled="0"/>
                </a:gradFill>
              </a:rPr>
              <a:t> Add Users and Test</a:t>
            </a:r>
            <a:endParaRPr lang="en-US" sz="2000" dirty="0">
              <a:gradFill>
                <a:gsLst>
                  <a:gs pos="2917">
                    <a:srgbClr val="505050"/>
                  </a:gs>
                  <a:gs pos="30000">
                    <a:srgbClr val="505050"/>
                  </a:gs>
                </a:gsLst>
                <a:lin ang="5400000" scaled="0"/>
              </a:gradFill>
            </a:endParaRPr>
          </a:p>
        </p:txBody>
      </p:sp>
      <p:pic>
        <p:nvPicPr>
          <p:cNvPr id="51" name="Picture 50">
            <a:extLst>
              <a:ext uri="{FF2B5EF4-FFF2-40B4-BE49-F238E27FC236}">
                <a16:creationId xmlns:a16="http://schemas.microsoft.com/office/drawing/2014/main" id="{959376E9-903F-EE4E-8AAC-E96C88EA0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197" y="1189660"/>
            <a:ext cx="2583694" cy="881496"/>
          </a:xfrm>
          <a:prstGeom prst="rect">
            <a:avLst/>
          </a:prstGeom>
        </p:spPr>
      </p:pic>
      <p:pic>
        <p:nvPicPr>
          <p:cNvPr id="52" name="Picture 51">
            <a:extLst>
              <a:ext uri="{FF2B5EF4-FFF2-40B4-BE49-F238E27FC236}">
                <a16:creationId xmlns:a16="http://schemas.microsoft.com/office/drawing/2014/main" id="{E2B25891-2EEA-AE41-BED7-261F21CECD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998" y="4786845"/>
            <a:ext cx="2286220" cy="840492"/>
          </a:xfrm>
          <a:prstGeom prst="rect">
            <a:avLst/>
          </a:prstGeom>
        </p:spPr>
      </p:pic>
      <p:pic>
        <p:nvPicPr>
          <p:cNvPr id="54" name="Picture 53">
            <a:extLst>
              <a:ext uri="{FF2B5EF4-FFF2-40B4-BE49-F238E27FC236}">
                <a16:creationId xmlns:a16="http://schemas.microsoft.com/office/drawing/2014/main" id="{254D90E0-703E-4941-9DC1-CCD920E2DC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4202" y="4765944"/>
            <a:ext cx="2599625" cy="784014"/>
          </a:xfrm>
          <a:prstGeom prst="rect">
            <a:avLst/>
          </a:prstGeom>
        </p:spPr>
      </p:pic>
      <p:pic>
        <p:nvPicPr>
          <p:cNvPr id="58" name="Picture 2" descr="Machine generated alternative text:&#10;ELEMETRY OMPLIRNCE STmTe TRANSITIONS &#10;ATI-ICATION ROLES &#10;- XNlTlATlN6 COUNTCR?ARTH C rcp) &#10;- COONT&amp;RPARTY CC?) &#10;- Device C') &#10;- Obe0NeR &#10;- OBSeRvee COB) &#10;F: INGEST &#10;TEL€m€T2--f ( &#10;AIRD &#10;• TRANSITION &#10;ROLE &#10;AR Al-cowe» &#10;-SrÄT€s C OR &#10;AR INT F. &#10;1üNSFER &#10;TRANSIT &#10;• CompG7E &#10;TELEtvETRM ( ) &#10;OUT og &#10;Comp.-ETED &#10;cess ">
            <a:extLst>
              <a:ext uri="{FF2B5EF4-FFF2-40B4-BE49-F238E27FC236}">
                <a16:creationId xmlns:a16="http://schemas.microsoft.com/office/drawing/2014/main" id="{329C5312-0F5E-B942-8F08-40FCDFB156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3392770" y="980558"/>
            <a:ext cx="2041721" cy="141271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A71134A7-B365-F947-81D8-7FCDB982F0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9682" y="1065508"/>
            <a:ext cx="2019643" cy="967483"/>
          </a:xfrm>
          <a:prstGeom prst="rect">
            <a:avLst/>
          </a:prstGeom>
        </p:spPr>
      </p:pic>
      <p:sp>
        <p:nvSpPr>
          <p:cNvPr id="60" name="Right Arrow 59">
            <a:extLst>
              <a:ext uri="{FF2B5EF4-FFF2-40B4-BE49-F238E27FC236}">
                <a16:creationId xmlns:a16="http://schemas.microsoft.com/office/drawing/2014/main" id="{FF4657F9-90BC-7F48-B383-2922200F03C2}"/>
              </a:ext>
            </a:extLst>
          </p:cNvPr>
          <p:cNvSpPr/>
          <p:nvPr/>
        </p:nvSpPr>
        <p:spPr bwMode="auto">
          <a:xfrm rot="5400000">
            <a:off x="7102210"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a:extLst>
              <a:ext uri="{FF2B5EF4-FFF2-40B4-BE49-F238E27FC236}">
                <a16:creationId xmlns:a16="http://schemas.microsoft.com/office/drawing/2014/main" id="{55AF30B5-68DD-834E-95F4-75D4FEDB24E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487254" y="4770388"/>
            <a:ext cx="1974218" cy="981022"/>
          </a:xfrm>
          <a:prstGeom prst="rect">
            <a:avLst/>
          </a:prstGeom>
          <a:solidFill>
            <a:srgbClr val="CFD5EA"/>
          </a:solidFill>
        </p:spPr>
      </p:pic>
      <p:sp>
        <p:nvSpPr>
          <p:cNvPr id="62" name="TextBox 61">
            <a:extLst>
              <a:ext uri="{FF2B5EF4-FFF2-40B4-BE49-F238E27FC236}">
                <a16:creationId xmlns:a16="http://schemas.microsoft.com/office/drawing/2014/main" id="{D3BD2FC7-D942-E24E-885D-9754DE73C217}"/>
              </a:ext>
            </a:extLst>
          </p:cNvPr>
          <p:cNvSpPr txBox="1"/>
          <p:nvPr/>
        </p:nvSpPr>
        <p:spPr>
          <a:xfrm>
            <a:off x="6198385" y="5842718"/>
            <a:ext cx="2949697"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6 |</a:t>
            </a:r>
            <a:r>
              <a:rPr lang="en-US" sz="1600" dirty="0">
                <a:gradFill>
                  <a:gsLst>
                    <a:gs pos="2917">
                      <a:srgbClr val="505050"/>
                    </a:gs>
                    <a:gs pos="30000">
                      <a:srgbClr val="505050"/>
                    </a:gs>
                  </a:gsLst>
                  <a:lin ang="5400000" scaled="0"/>
                </a:gradFill>
              </a:rPr>
              <a:t> Code Smart Contract</a:t>
            </a:r>
            <a:endParaRPr lang="en-US" sz="2000" dirty="0">
              <a:gradFill>
                <a:gsLst>
                  <a:gs pos="2917">
                    <a:srgbClr val="505050"/>
                  </a:gs>
                  <a:gs pos="30000">
                    <a:srgbClr val="505050"/>
                  </a:gs>
                </a:gsLst>
                <a:lin ang="5400000" scaled="0"/>
              </a:gradFill>
            </a:endParaRPr>
          </a:p>
        </p:txBody>
      </p:sp>
      <p:sp>
        <p:nvSpPr>
          <p:cNvPr id="63" name="TextBox 62">
            <a:extLst>
              <a:ext uri="{FF2B5EF4-FFF2-40B4-BE49-F238E27FC236}">
                <a16:creationId xmlns:a16="http://schemas.microsoft.com/office/drawing/2014/main" id="{52E519AC-F7F2-1E48-9A91-8AA69613EEC3}"/>
              </a:ext>
            </a:extLst>
          </p:cNvPr>
          <p:cNvSpPr txBox="1"/>
          <p:nvPr/>
        </p:nvSpPr>
        <p:spPr>
          <a:xfrm>
            <a:off x="9647226" y="3717423"/>
            <a:ext cx="216610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8 |</a:t>
            </a:r>
            <a:r>
              <a:rPr lang="en-US" sz="1600" dirty="0">
                <a:gradFill>
                  <a:gsLst>
                    <a:gs pos="2917">
                      <a:srgbClr val="505050"/>
                    </a:gs>
                    <a:gs pos="30000">
                      <a:srgbClr val="505050"/>
                    </a:gs>
                  </a:gsLst>
                  <a:lin ang="5400000" scaled="0"/>
                </a:gradFill>
              </a:rPr>
              <a:t> Deploy App</a:t>
            </a:r>
            <a:endParaRPr lang="en-US" sz="2000" dirty="0">
              <a:gradFill>
                <a:gsLst>
                  <a:gs pos="2917">
                    <a:srgbClr val="505050"/>
                  </a:gs>
                  <a:gs pos="30000">
                    <a:srgbClr val="505050"/>
                  </a:gs>
                </a:gsLst>
                <a:lin ang="5400000" scaled="0"/>
              </a:gradFill>
            </a:endParaRPr>
          </a:p>
        </p:txBody>
      </p:sp>
      <p:pic>
        <p:nvPicPr>
          <p:cNvPr id="64" name="Picture 63">
            <a:extLst>
              <a:ext uri="{FF2B5EF4-FFF2-40B4-BE49-F238E27FC236}">
                <a16:creationId xmlns:a16="http://schemas.microsoft.com/office/drawing/2014/main" id="{D682314D-F326-3D4F-BAD4-C3230F5A280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9711509" y="4786845"/>
            <a:ext cx="2105865" cy="1231661"/>
          </a:xfrm>
          <a:prstGeom prst="rect">
            <a:avLst/>
          </a:prstGeom>
        </p:spPr>
      </p:pic>
      <p:sp>
        <p:nvSpPr>
          <p:cNvPr id="65" name="Right Arrow 64">
            <a:extLst>
              <a:ext uri="{FF2B5EF4-FFF2-40B4-BE49-F238E27FC236}">
                <a16:creationId xmlns:a16="http://schemas.microsoft.com/office/drawing/2014/main" id="{A21DBEDD-0656-1443-8E6C-E1977BC9FE0B}"/>
              </a:ext>
            </a:extLst>
          </p:cNvPr>
          <p:cNvSpPr/>
          <p:nvPr/>
        </p:nvSpPr>
        <p:spPr bwMode="auto">
          <a:xfrm rot="16200000">
            <a:off x="10396281" y="2106995"/>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67">
            <a:extLst>
              <a:ext uri="{FF2B5EF4-FFF2-40B4-BE49-F238E27FC236}">
                <a16:creationId xmlns:a16="http://schemas.microsoft.com/office/drawing/2014/main" id="{92349D41-D4FA-7E43-8202-A23A4B7C69CC}"/>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9977344" y="2699210"/>
            <a:ext cx="1303837" cy="1042412"/>
          </a:xfrm>
          <a:prstGeom prst="rect">
            <a:avLst/>
          </a:prstGeom>
        </p:spPr>
      </p:pic>
      <p:sp>
        <p:nvSpPr>
          <p:cNvPr id="69" name="Right Arrow 68">
            <a:extLst>
              <a:ext uri="{FF2B5EF4-FFF2-40B4-BE49-F238E27FC236}">
                <a16:creationId xmlns:a16="http://schemas.microsoft.com/office/drawing/2014/main" id="{D64F1F0C-ADF0-994F-8A8F-E8A37A149828}"/>
              </a:ext>
            </a:extLst>
          </p:cNvPr>
          <p:cNvSpPr/>
          <p:nvPr/>
        </p:nvSpPr>
        <p:spPr bwMode="auto">
          <a:xfrm rot="16200000">
            <a:off x="10541881" y="4042362"/>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0" name="Picture 69">
            <a:extLst>
              <a:ext uri="{FF2B5EF4-FFF2-40B4-BE49-F238E27FC236}">
                <a16:creationId xmlns:a16="http://schemas.microsoft.com/office/drawing/2014/main" id="{30F67630-B630-F149-B67A-11DCC493EAB7}"/>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9743424" y="689582"/>
            <a:ext cx="1633086" cy="1163639"/>
          </a:xfrm>
          <a:prstGeom prst="rect">
            <a:avLst/>
          </a:prstGeom>
        </p:spPr>
      </p:pic>
      <p:sp>
        <p:nvSpPr>
          <p:cNvPr id="42" name="Right Arrow 32">
            <a:extLst>
              <a:ext uri="{FF2B5EF4-FFF2-40B4-BE49-F238E27FC236}">
                <a16:creationId xmlns:a16="http://schemas.microsoft.com/office/drawing/2014/main" id="{183B3B88-527F-4AC2-B817-0D7C1DE2CDB3}"/>
              </a:ext>
            </a:extLst>
          </p:cNvPr>
          <p:cNvSpPr/>
          <p:nvPr/>
        </p:nvSpPr>
        <p:spPr bwMode="auto">
          <a:xfrm rot="5400000">
            <a:off x="1284694"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13079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Create your application story </a:t>
            </a:r>
          </a:p>
        </p:txBody>
      </p:sp>
      <p:pic>
        <p:nvPicPr>
          <p:cNvPr id="4" name="Picture 3">
            <a:extLst>
              <a:ext uri="{FF2B5EF4-FFF2-40B4-BE49-F238E27FC236}">
                <a16:creationId xmlns:a16="http://schemas.microsoft.com/office/drawing/2014/main" id="{14C432D1-0951-BB48-B41F-32BF56C63C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0313" y="2542425"/>
            <a:ext cx="6836665" cy="2332509"/>
          </a:xfrm>
          <a:prstGeom prst="rect">
            <a:avLst/>
          </a:prstGeom>
        </p:spPr>
      </p:pic>
      <p:cxnSp>
        <p:nvCxnSpPr>
          <p:cNvPr id="10" name="Straight Connector 9">
            <a:extLst>
              <a:ext uri="{FF2B5EF4-FFF2-40B4-BE49-F238E27FC236}">
                <a16:creationId xmlns:a16="http://schemas.microsoft.com/office/drawing/2014/main" id="{FFF1242F-B270-4B45-A4F1-93A53C683E65}"/>
              </a:ext>
            </a:extLst>
          </p:cNvPr>
          <p:cNvCxnSpPr>
            <a:cxnSpLocks/>
          </p:cNvCxnSpPr>
          <p:nvPr/>
        </p:nvCxnSpPr>
        <p:spPr>
          <a:xfrm>
            <a:off x="4965290" y="1502978"/>
            <a:ext cx="0" cy="4425874"/>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A6F3604-45E5-6942-8EC9-32C8DA9BA187}"/>
              </a:ext>
            </a:extLst>
          </p:cNvPr>
          <p:cNvSpPr txBox="1"/>
          <p:nvPr/>
        </p:nvSpPr>
        <p:spPr>
          <a:xfrm>
            <a:off x="381895" y="1916907"/>
            <a:ext cx="4396581" cy="28869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sng" strike="noStrike" kern="0" cap="none" spc="0" normalizeH="0" baseline="0" noProof="0" dirty="0">
                <a:ln>
                  <a:noFill/>
                </a:ln>
                <a:solidFill>
                  <a:srgbClr val="505050"/>
                </a:solidFill>
                <a:effectLst/>
                <a:uLnTx/>
                <a:uFillTx/>
                <a:latin typeface="Segoe UI"/>
                <a:ea typeface="+mn-ea"/>
                <a:cs typeface="Segoe UI" panose="020B0502040204020203" pitchFamily="34" charset="0"/>
              </a:rPr>
              <a:t>Start with a Scenario Overview</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lvl="0">
              <a:lnSpc>
                <a:spcPct val="90000"/>
              </a:lnSpc>
              <a:spcAft>
                <a:spcPts val="600"/>
              </a:spcAft>
              <a:defRPr/>
            </a:pPr>
            <a:r>
              <a:rPr lang="en-US" sz="1400" i="1" kern="0" dirty="0">
                <a:solidFill>
                  <a:srgbClr val="505050"/>
                </a:solidFill>
                <a:cs typeface="Segoe UI" panose="020B0502040204020203" pitchFamily="34" charset="0"/>
              </a:rPr>
              <a:t>The refrigerated transportation smart contract covers a provenance scenario with IoT monitoring. You can think of it as a supply chain transport scenario where certain compliance rules must be met throughout the duration of the transportation process. The initiating counterparty specifies the humidity and temperature range the measurement must fall in to be compliant. At any point, if the device takes a temperature or humidity measurement that is out of range, the contract state will be updated to indicate that it is out of compliance. </a:t>
            </a:r>
          </a:p>
        </p:txBody>
      </p:sp>
      <p:sp>
        <p:nvSpPr>
          <p:cNvPr id="15" name="TextBox 14">
            <a:extLst>
              <a:ext uri="{FF2B5EF4-FFF2-40B4-BE49-F238E27FC236}">
                <a16:creationId xmlns:a16="http://schemas.microsoft.com/office/drawing/2014/main" id="{1019BD49-2E3B-0648-92A6-2AC8A33F014C}"/>
              </a:ext>
            </a:extLst>
          </p:cNvPr>
          <p:cNvSpPr txBox="1"/>
          <p:nvPr/>
        </p:nvSpPr>
        <p:spPr>
          <a:xfrm>
            <a:off x="5268468" y="1916907"/>
            <a:ext cx="4396581" cy="8710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b="1" u="sng" kern="0" dirty="0">
                <a:solidFill>
                  <a:srgbClr val="505050"/>
                </a:solidFill>
                <a:latin typeface="Segoe UI"/>
                <a:cs typeface="Segoe UI" panose="020B0502040204020203" pitchFamily="34" charset="0"/>
              </a:rPr>
              <a:t>Illustrate</a:t>
            </a:r>
            <a:r>
              <a:rPr kumimoji="0" lang="en-US" sz="1800" b="1" i="0" u="sng" strike="noStrike" kern="0" cap="none" spc="0" normalizeH="0" baseline="0" noProof="0" dirty="0">
                <a:ln>
                  <a:noFill/>
                </a:ln>
                <a:solidFill>
                  <a:srgbClr val="505050"/>
                </a:solidFill>
                <a:effectLst/>
                <a:uLnTx/>
                <a:uFillTx/>
                <a:latin typeface="Segoe UI"/>
                <a:ea typeface="+mn-ea"/>
                <a:cs typeface="Segoe UI" panose="020B0502040204020203" pitchFamily="34" charset="0"/>
              </a:rPr>
              <a:t> the desired process flow</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14620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Define your application rol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08091089"/>
              </p:ext>
            </p:extLst>
          </p:nvPr>
        </p:nvGraphicFramePr>
        <p:xfrm>
          <a:off x="737419" y="1427588"/>
          <a:ext cx="10253483" cy="3672924"/>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r>
                        <a:rPr lang="en-US" dirty="0" err="1"/>
                        <a:t>InitiatingCounterParty</a:t>
                      </a:r>
                      <a:endParaRPr lang="en-US" dirty="0"/>
                    </a:p>
                  </a:txBody>
                  <a:tcPr/>
                </a:tc>
                <a:tc>
                  <a:txBody>
                    <a:bodyPr/>
                    <a:lstStyle/>
                    <a:p>
                      <a:r>
                        <a:rPr lang="en-US" dirty="0"/>
                        <a:t>The first participant in the supply chain.</a:t>
                      </a:r>
                    </a:p>
                  </a:txBody>
                  <a:tcPr/>
                </a:tc>
                <a:extLst>
                  <a:ext uri="{0D108BD9-81ED-4DB2-BD59-A6C34878D82A}">
                    <a16:rowId xmlns:a16="http://schemas.microsoft.com/office/drawing/2014/main" val="1805861624"/>
                  </a:ext>
                </a:extLst>
              </a:tr>
              <a:tr h="578146">
                <a:tc>
                  <a:txBody>
                    <a:bodyPr/>
                    <a:lstStyle/>
                    <a:p>
                      <a:r>
                        <a:rPr lang="en-US" dirty="0"/>
                        <a:t>Counterparty</a:t>
                      </a:r>
                    </a:p>
                  </a:txBody>
                  <a:tcPr/>
                </a:tc>
                <a:tc>
                  <a:txBody>
                    <a:bodyPr/>
                    <a:lstStyle/>
                    <a:p>
                      <a:r>
                        <a:rPr lang="en-US" dirty="0"/>
                        <a:t>A party to whom responsibility for a product has been assigned. </a:t>
                      </a:r>
                    </a:p>
                    <a:p>
                      <a:r>
                        <a:rPr lang="en-US" dirty="0"/>
                        <a:t>For example, a shipper</a:t>
                      </a:r>
                    </a:p>
                  </a:txBody>
                  <a:tcPr/>
                </a:tc>
                <a:extLst>
                  <a:ext uri="{0D108BD9-81ED-4DB2-BD59-A6C34878D82A}">
                    <a16:rowId xmlns:a16="http://schemas.microsoft.com/office/drawing/2014/main" val="1136570002"/>
                  </a:ext>
                </a:extLst>
              </a:tr>
              <a:tr h="578146">
                <a:tc>
                  <a:txBody>
                    <a:bodyPr/>
                    <a:lstStyle/>
                    <a:p>
                      <a:r>
                        <a:rPr lang="en-US" dirty="0"/>
                        <a:t>Device</a:t>
                      </a:r>
                    </a:p>
                  </a:txBody>
                  <a:tcPr/>
                </a:tc>
                <a:tc>
                  <a:txBody>
                    <a:bodyPr/>
                    <a:lstStyle/>
                    <a:p>
                      <a:r>
                        <a:rPr lang="en-US" dirty="0"/>
                        <a:t>A device used to monitor the temperature and humidity of the environment the good(s) are being shipped in.</a:t>
                      </a:r>
                    </a:p>
                  </a:txBody>
                  <a:tcPr/>
                </a:tc>
                <a:extLst>
                  <a:ext uri="{0D108BD9-81ED-4DB2-BD59-A6C34878D82A}">
                    <a16:rowId xmlns:a16="http://schemas.microsoft.com/office/drawing/2014/main" val="2587058528"/>
                  </a:ext>
                </a:extLst>
              </a:tr>
              <a:tr h="578146">
                <a:tc>
                  <a:txBody>
                    <a:bodyPr/>
                    <a:lstStyle/>
                    <a:p>
                      <a:r>
                        <a:rPr lang="en-US" dirty="0"/>
                        <a:t>Owner</a:t>
                      </a:r>
                    </a:p>
                  </a:txBody>
                  <a:tcPr/>
                </a:tc>
                <a:tc>
                  <a:txBody>
                    <a:bodyPr/>
                    <a:lstStyle/>
                    <a:p>
                      <a:r>
                        <a:rPr lang="en-US" dirty="0"/>
                        <a:t>The organization that owns the product being transported. </a:t>
                      </a:r>
                    </a:p>
                    <a:p>
                      <a:r>
                        <a:rPr lang="en-US" dirty="0"/>
                        <a:t>For example, a manufacturer</a:t>
                      </a:r>
                    </a:p>
                  </a:txBody>
                  <a:tcPr/>
                </a:tc>
                <a:extLst>
                  <a:ext uri="{0D108BD9-81ED-4DB2-BD59-A6C34878D82A}">
                    <a16:rowId xmlns:a16="http://schemas.microsoft.com/office/drawing/2014/main" val="778680367"/>
                  </a:ext>
                </a:extLst>
              </a:tr>
              <a:tr h="578146">
                <a:tc>
                  <a:txBody>
                    <a:bodyPr/>
                    <a:lstStyle/>
                    <a:p>
                      <a:r>
                        <a:rPr lang="en-US" dirty="0"/>
                        <a:t>Observer</a:t>
                      </a:r>
                    </a:p>
                  </a:txBody>
                  <a:tcPr/>
                </a:tc>
                <a:tc>
                  <a:txBody>
                    <a:bodyPr/>
                    <a:lstStyle/>
                    <a:p>
                      <a:r>
                        <a:rPr lang="en-US" dirty="0"/>
                        <a:t>The individual or organization monitoring the supply chain. </a:t>
                      </a:r>
                    </a:p>
                    <a:p>
                      <a:r>
                        <a:rPr lang="en-US" dirty="0"/>
                        <a:t>For example, a government agency</a:t>
                      </a:r>
                    </a:p>
                  </a:txBody>
                  <a:tcPr/>
                </a:tc>
                <a:extLst>
                  <a:ext uri="{0D108BD9-81ED-4DB2-BD59-A6C34878D82A}">
                    <a16:rowId xmlns:a16="http://schemas.microsoft.com/office/drawing/2014/main" val="3171685955"/>
                  </a:ext>
                </a:extLst>
              </a:tr>
            </a:tbl>
          </a:graphicData>
        </a:graphic>
      </p:graphicFrame>
      <p:sp>
        <p:nvSpPr>
          <p:cNvPr id="9" name="TextBox 8">
            <a:extLst>
              <a:ext uri="{FF2B5EF4-FFF2-40B4-BE49-F238E27FC236}">
                <a16:creationId xmlns:a16="http://schemas.microsoft.com/office/drawing/2014/main" id="{1854F160-4D64-DB40-B6E0-A6E68C0F7711}"/>
              </a:ext>
            </a:extLst>
          </p:cNvPr>
          <p:cNvSpPr txBox="1"/>
          <p:nvPr/>
        </p:nvSpPr>
        <p:spPr>
          <a:xfrm>
            <a:off x="737420" y="5235654"/>
            <a:ext cx="10253482" cy="1071062"/>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All participants can view the state and details of the contract at any point in time. The counterparty doing the transportation will specify the next counterparty responsible, and the device will ingest temperature and humidity data which gets written to the chain. This allows the Supply Chain Owner and Supply Chain Observer to pinpoint which counterparty did not fulfill the compliance regulations if at any point in the process either the temperature or humidity requirements were not met.</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60512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Enumerate all of your smart contract stat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488188820"/>
              </p:ext>
            </p:extLst>
          </p:nvPr>
        </p:nvGraphicFramePr>
        <p:xfrm>
          <a:off x="737419" y="1427588"/>
          <a:ext cx="10253483" cy="2992754"/>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r>
                        <a:rPr lang="en-US" dirty="0"/>
                        <a:t>Created</a:t>
                      </a:r>
                    </a:p>
                  </a:txBody>
                  <a:tcPr/>
                </a:tc>
                <a:tc>
                  <a:txBody>
                    <a:bodyPr/>
                    <a:lstStyle/>
                    <a:p>
                      <a:r>
                        <a:rPr lang="en-US" dirty="0"/>
                        <a:t>Indicates that the contract has initiated and tracking is in progress.</a:t>
                      </a:r>
                    </a:p>
                  </a:txBody>
                  <a:tcPr/>
                </a:tc>
                <a:extLst>
                  <a:ext uri="{0D108BD9-81ED-4DB2-BD59-A6C34878D82A}">
                    <a16:rowId xmlns:a16="http://schemas.microsoft.com/office/drawing/2014/main" val="1805861624"/>
                  </a:ext>
                </a:extLst>
              </a:tr>
              <a:tr h="578146">
                <a:tc>
                  <a:txBody>
                    <a:bodyPr/>
                    <a:lstStyle/>
                    <a:p>
                      <a:r>
                        <a:rPr lang="en-US" dirty="0" err="1"/>
                        <a:t>InTransit</a:t>
                      </a:r>
                      <a:endParaRPr lang="en-US" dirty="0"/>
                    </a:p>
                  </a:txBody>
                  <a:tcPr/>
                </a:tc>
                <a:tc>
                  <a:txBody>
                    <a:bodyPr/>
                    <a:lstStyle/>
                    <a:p>
                      <a:r>
                        <a:rPr lang="en-US" dirty="0"/>
                        <a:t>Indicates that a Counterparty currently is in possession and responsible for goods being transported.</a:t>
                      </a:r>
                    </a:p>
                  </a:txBody>
                  <a:tcPr/>
                </a:tc>
                <a:extLst>
                  <a:ext uri="{0D108BD9-81ED-4DB2-BD59-A6C34878D82A}">
                    <a16:rowId xmlns:a16="http://schemas.microsoft.com/office/drawing/2014/main" val="1136570002"/>
                  </a:ext>
                </a:extLst>
              </a:tr>
              <a:tr h="578146">
                <a:tc>
                  <a:txBody>
                    <a:bodyPr/>
                    <a:lstStyle/>
                    <a:p>
                      <a:r>
                        <a:rPr lang="en-US" dirty="0"/>
                        <a:t>Completed</a:t>
                      </a:r>
                    </a:p>
                  </a:txBody>
                  <a:tcPr/>
                </a:tc>
                <a:tc>
                  <a:txBody>
                    <a:bodyPr/>
                    <a:lstStyle/>
                    <a:p>
                      <a:r>
                        <a:rPr lang="en-US" dirty="0"/>
                        <a:t>Indicates the product has reached it's intended destination.</a:t>
                      </a:r>
                    </a:p>
                  </a:txBody>
                  <a:tcPr/>
                </a:tc>
                <a:extLst>
                  <a:ext uri="{0D108BD9-81ED-4DB2-BD59-A6C34878D82A}">
                    <a16:rowId xmlns:a16="http://schemas.microsoft.com/office/drawing/2014/main" val="2587058528"/>
                  </a:ext>
                </a:extLst>
              </a:tr>
              <a:tr h="578146">
                <a:tc>
                  <a:txBody>
                    <a:bodyPr/>
                    <a:lstStyle/>
                    <a:p>
                      <a:r>
                        <a:rPr lang="en-US" dirty="0" err="1"/>
                        <a:t>OutOfCompliance</a:t>
                      </a:r>
                      <a:endParaRPr lang="en-US" dirty="0"/>
                    </a:p>
                  </a:txBody>
                  <a:tcPr/>
                </a:tc>
                <a:tc>
                  <a:txBody>
                    <a:bodyPr/>
                    <a:lstStyle/>
                    <a:p>
                      <a:r>
                        <a:rPr lang="en-US" dirty="0"/>
                        <a:t>Indicates that the agreed upon terms for temperature and humidity conditions were not met.</a:t>
                      </a:r>
                    </a:p>
                  </a:txBody>
                  <a:tcPr/>
                </a:tc>
                <a:extLst>
                  <a:ext uri="{0D108BD9-81ED-4DB2-BD59-A6C34878D82A}">
                    <a16:rowId xmlns:a16="http://schemas.microsoft.com/office/drawing/2014/main" val="778680367"/>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5235654"/>
            <a:ext cx="10253482" cy="877163"/>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Combine the application story, roles and smart contract states to create a state transition design that articulates the possible flows, and the various transition functions at each state. Each user is only allowed to take certain actions depending on the application role. Instance roles indicate that only the user with the application role assigned to the specific contract is able to take actions on the contract. </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63297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t>Blockchain Positioning and Strategy</a:t>
            </a:r>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wrap="square" lIns="146304" tIns="91440" rIns="146304" bIns="91440" rtlCol="0" anchor="t">
            <a:normAutofit/>
          </a:bodyPr>
          <a:lstStyle/>
          <a:p>
            <a:pPr marL="335915" indent="-335915"/>
            <a:r>
              <a:rPr lang="en-US" sz="3900" dirty="0">
                <a:ea typeface="+mj-lt"/>
                <a:cs typeface="+mj-lt"/>
              </a:rPr>
              <a:t>Understand roles for blockchain and Microsoft strategy</a:t>
            </a:r>
            <a:endParaRPr lang="en-US"/>
          </a:p>
          <a:p>
            <a:pPr marL="335915" indent="-335915"/>
            <a:r>
              <a:rPr lang="en-US" sz="3900" dirty="0">
                <a:ea typeface="+mj-lt"/>
                <a:cs typeface="+mj-lt"/>
              </a:rPr>
              <a:t>Discuss use cases across industries</a:t>
            </a:r>
            <a:endParaRPr lang="en-US" dirty="0"/>
          </a:p>
          <a:p>
            <a:pPr marL="335915" indent="-335915"/>
            <a:endParaRPr lang="en-US" dirty="0">
              <a:cs typeface="Segoe UI Light"/>
            </a:endParaRPr>
          </a:p>
        </p:txBody>
      </p:sp>
    </p:spTree>
    <p:extLst>
      <p:ext uri="{BB962C8B-B14F-4D97-AF65-F5344CB8AC3E}">
        <p14:creationId xmlns:p14="http://schemas.microsoft.com/office/powerpoint/2010/main" val="1876920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Draft the workflow details as a state transition design</a:t>
            </a:r>
          </a:p>
        </p:txBody>
      </p:sp>
      <p:sp>
        <p:nvSpPr>
          <p:cNvPr id="7" name="TextBox 6">
            <a:extLst>
              <a:ext uri="{FF2B5EF4-FFF2-40B4-BE49-F238E27FC236}">
                <a16:creationId xmlns:a16="http://schemas.microsoft.com/office/drawing/2014/main" id="{953D2544-1348-F24C-8B11-C5569D787AC0}"/>
              </a:ext>
            </a:extLst>
          </p:cNvPr>
          <p:cNvSpPr txBox="1"/>
          <p:nvPr/>
        </p:nvSpPr>
        <p:spPr>
          <a:xfrm>
            <a:off x="737420" y="5128944"/>
            <a:ext cx="10253482" cy="1264962"/>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This contract demonstrates how to collect telemetry information and enforce contract specifics related to conditions during transport. Specifically, receiving and evaluating temperature and humidity data against an agreed upon acceptable range. If the IoT device identifies that the telemetry is out of the acceptable range, the contract will shift into an out of compliance state and appropriate remedies can be sought. In the highlighted happy path, the device ingests readings, which are in compliance throughout the transportation process, while the involved counterparties transfer responsibility until the transportation is completed. </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pic>
        <p:nvPicPr>
          <p:cNvPr id="8" name="Picture 2" descr="Machine generated alternative text:&#10;ELEMETRY OMPLIRNCE STmTe TRANSITIONS &#10;ATI-ICATION ROLES &#10;- XNlTlATlN6 COUNTCR?ARTH C rcp) &#10;- COONT&amp;RPARTY CC?) &#10;- Device C') &#10;- Obe0NeR &#10;- OBSeRvee COB) &#10;F: INGEST &#10;TEL€m€T2--f ( &#10;AIRD &#10;• TRANSITION &#10;ROLE &#10;AR Al-cowe» &#10;-SrÄT€s C OR &#10;AR INT F. &#10;1üNSFER &#10;TRANSIT &#10;• CompG7E &#10;TELEtvETRM ( ) &#10;OUT og &#10;Comp.-ETED &#10;cess ">
            <a:extLst>
              <a:ext uri="{FF2B5EF4-FFF2-40B4-BE49-F238E27FC236}">
                <a16:creationId xmlns:a16="http://schemas.microsoft.com/office/drawing/2014/main" id="{42B0175C-B7DF-ED44-A1F6-E4BE729DCFB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114287" y="1355660"/>
            <a:ext cx="9144223" cy="384066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58292A-98E3-415A-B576-FB5935B514C8}"/>
              </a:ext>
            </a:extLst>
          </p:cNvPr>
          <p:cNvSpPr txBox="1"/>
          <p:nvPr/>
        </p:nvSpPr>
        <p:spPr>
          <a:xfrm>
            <a:off x="4724400" y="3200400"/>
            <a:ext cx="2743200" cy="10433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solidFill>
                  <a:srgbClr val="FFFFFF"/>
                </a:solidFill>
                <a:latin typeface="Calibri Light"/>
              </a:rPr>
              <a:t>MVP - Solution Development and Deployment</a:t>
            </a:r>
            <a:r>
              <a:rPr lang="en-US">
                <a:latin typeface="Calibri Light"/>
                <a:cs typeface="Calibri Light"/>
              </a:rPr>
              <a:t>​</a:t>
            </a:r>
            <a:endParaRPr lang="en-US"/>
          </a:p>
        </p:txBody>
      </p:sp>
    </p:spTree>
    <p:extLst>
      <p:ext uri="{BB962C8B-B14F-4D97-AF65-F5344CB8AC3E}">
        <p14:creationId xmlns:p14="http://schemas.microsoft.com/office/powerpoint/2010/main" val="15780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Specify data as parameters relative to roles and functions </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260442956"/>
              </p:ext>
            </p:extLst>
          </p:nvPr>
        </p:nvGraphicFramePr>
        <p:xfrm>
          <a:off x="737419" y="1122792"/>
          <a:ext cx="10253484" cy="4966207"/>
        </p:xfrm>
        <a:graphic>
          <a:graphicData uri="http://schemas.openxmlformats.org/drawingml/2006/table">
            <a:tbl>
              <a:tblPr firstRow="1" bandRow="1">
                <a:tableStyleId>{F5AB1C69-6EDB-4FF4-983F-18BD219EF322}</a:tableStyleId>
              </a:tblPr>
              <a:tblGrid>
                <a:gridCol w="1733128">
                  <a:extLst>
                    <a:ext uri="{9D8B030D-6E8A-4147-A177-3AD203B41FA5}">
                      <a16:colId xmlns:a16="http://schemas.microsoft.com/office/drawing/2014/main" val="1956135441"/>
                    </a:ext>
                  </a:extLst>
                </a:gridCol>
                <a:gridCol w="4260178">
                  <a:extLst>
                    <a:ext uri="{9D8B030D-6E8A-4147-A177-3AD203B41FA5}">
                      <a16:colId xmlns:a16="http://schemas.microsoft.com/office/drawing/2014/main" val="3448598843"/>
                    </a:ext>
                  </a:extLst>
                </a:gridCol>
                <a:gridCol w="4260178">
                  <a:extLst>
                    <a:ext uri="{9D8B030D-6E8A-4147-A177-3AD203B41FA5}">
                      <a16:colId xmlns:a16="http://schemas.microsoft.com/office/drawing/2014/main" val="924185933"/>
                    </a:ext>
                  </a:extLst>
                </a:gridCol>
              </a:tblGrid>
              <a:tr h="578146">
                <a:tc>
                  <a:txBody>
                    <a:bodyPr/>
                    <a:lstStyle/>
                    <a:p>
                      <a:r>
                        <a:rPr lang="en-US" dirty="0"/>
                        <a:t>Application Role</a:t>
                      </a:r>
                    </a:p>
                  </a:txBody>
                  <a:tcPr/>
                </a:tc>
                <a:tc>
                  <a:txBody>
                    <a:bodyPr/>
                    <a:lstStyle/>
                    <a:p>
                      <a:r>
                        <a:rPr lang="en-US" dirty="0"/>
                        <a:t>Available Functions</a:t>
                      </a:r>
                    </a:p>
                  </a:txBody>
                  <a:tcPr/>
                </a:tc>
                <a:tc>
                  <a:txBody>
                    <a:bodyPr/>
                    <a:lstStyle/>
                    <a:p>
                      <a:r>
                        <a:rPr lang="en-US" dirty="0"/>
                        <a:t>Parameters</a:t>
                      </a:r>
                    </a:p>
                  </a:txBody>
                  <a:tcPr/>
                </a:tc>
                <a:extLst>
                  <a:ext uri="{0D108BD9-81ED-4DB2-BD59-A6C34878D82A}">
                    <a16:rowId xmlns:a16="http://schemas.microsoft.com/office/drawing/2014/main" val="1960670011"/>
                  </a:ext>
                </a:extLst>
              </a:tr>
              <a:tr h="578146">
                <a:tc>
                  <a:txBody>
                    <a:bodyPr/>
                    <a:lstStyle/>
                    <a:p>
                      <a:r>
                        <a:rPr lang="en-US" dirty="0" err="1"/>
                        <a:t>InitiatingCounterParty</a:t>
                      </a:r>
                      <a:endParaRPr lang="en-US" dirty="0"/>
                    </a:p>
                  </a:txBody>
                  <a:tcPr/>
                </a:tc>
                <a:tc>
                  <a:txBody>
                    <a:bodyPr/>
                    <a:lstStyle/>
                    <a:p>
                      <a:r>
                        <a:rPr lang="en-US" dirty="0"/>
                        <a:t>Create contract instance</a:t>
                      </a:r>
                    </a:p>
                    <a:p>
                      <a:r>
                        <a:rPr lang="en-US" dirty="0"/>
                        <a:t>Transfer responsibility</a:t>
                      </a:r>
                    </a:p>
                  </a:txBody>
                  <a:tcPr/>
                </a:tc>
                <a:tc>
                  <a:txBody>
                    <a:bodyPr/>
                    <a:lstStyle/>
                    <a:p>
                      <a:r>
                        <a:rPr lang="en-US" dirty="0" err="1"/>
                        <a:t>MinHumidity</a:t>
                      </a:r>
                      <a:endParaRPr lang="en-US" dirty="0"/>
                    </a:p>
                    <a:p>
                      <a:r>
                        <a:rPr lang="en-US" dirty="0" err="1"/>
                        <a:t>MaxHumidity</a:t>
                      </a:r>
                      <a:endParaRPr lang="en-US" dirty="0"/>
                    </a:p>
                    <a:p>
                      <a:r>
                        <a:rPr lang="en-US" dirty="0" err="1"/>
                        <a:t>MinTemperature</a:t>
                      </a:r>
                      <a:endParaRPr lang="en-US" dirty="0"/>
                    </a:p>
                    <a:p>
                      <a:r>
                        <a:rPr lang="en-US" dirty="0" err="1"/>
                        <a:t>MaxTemperature</a:t>
                      </a:r>
                      <a:endParaRPr lang="en-US" dirty="0"/>
                    </a:p>
                    <a:p>
                      <a:r>
                        <a:rPr lang="en-US" dirty="0"/>
                        <a:t>Device Name</a:t>
                      </a:r>
                    </a:p>
                    <a:p>
                      <a:r>
                        <a:rPr lang="en-US" dirty="0"/>
                        <a:t>Counterparty Name</a:t>
                      </a:r>
                    </a:p>
                    <a:p>
                      <a:r>
                        <a:rPr lang="en-US" dirty="0"/>
                        <a:t>Owner Name</a:t>
                      </a:r>
                    </a:p>
                  </a:txBody>
                  <a:tcPr/>
                </a:tc>
                <a:extLst>
                  <a:ext uri="{0D108BD9-81ED-4DB2-BD59-A6C34878D82A}">
                    <a16:rowId xmlns:a16="http://schemas.microsoft.com/office/drawing/2014/main" val="1805861624"/>
                  </a:ext>
                </a:extLst>
              </a:tr>
              <a:tr h="578146">
                <a:tc>
                  <a:txBody>
                    <a:bodyPr/>
                    <a:lstStyle/>
                    <a:p>
                      <a:r>
                        <a:rPr lang="en-US" dirty="0"/>
                        <a:t>Counterparty</a:t>
                      </a:r>
                    </a:p>
                  </a:txBody>
                  <a:tcPr/>
                </a:tc>
                <a:tc>
                  <a:txBody>
                    <a:bodyPr/>
                    <a:lstStyle/>
                    <a:p>
                      <a:r>
                        <a:rPr lang="en-US" dirty="0"/>
                        <a:t>Transfer responsibility</a:t>
                      </a:r>
                    </a:p>
                  </a:txBody>
                  <a:tcPr/>
                </a:tc>
                <a:tc>
                  <a:txBody>
                    <a:bodyPr/>
                    <a:lstStyle/>
                    <a:p>
                      <a:r>
                        <a:rPr lang="en-US" dirty="0"/>
                        <a:t>Counterparty Name</a:t>
                      </a:r>
                    </a:p>
                  </a:txBody>
                  <a:tcPr/>
                </a:tc>
                <a:extLst>
                  <a:ext uri="{0D108BD9-81ED-4DB2-BD59-A6C34878D82A}">
                    <a16:rowId xmlns:a16="http://schemas.microsoft.com/office/drawing/2014/main" val="1136570002"/>
                  </a:ext>
                </a:extLst>
              </a:tr>
              <a:tr h="578146">
                <a:tc>
                  <a:txBody>
                    <a:bodyPr/>
                    <a:lstStyle/>
                    <a:p>
                      <a:r>
                        <a:rPr lang="en-US" dirty="0"/>
                        <a:t>Device</a:t>
                      </a:r>
                    </a:p>
                  </a:txBody>
                  <a:tcPr/>
                </a:tc>
                <a:tc>
                  <a:txBody>
                    <a:bodyPr/>
                    <a:lstStyle/>
                    <a:p>
                      <a:r>
                        <a:rPr lang="en-US" dirty="0"/>
                        <a:t>Ingest telemetry</a:t>
                      </a:r>
                    </a:p>
                  </a:txBody>
                  <a:tcPr/>
                </a:tc>
                <a:tc>
                  <a:txBody>
                    <a:bodyPr/>
                    <a:lstStyle/>
                    <a:p>
                      <a:r>
                        <a:rPr lang="en-US" dirty="0" err="1"/>
                        <a:t>ComplianceSensorReading</a:t>
                      </a:r>
                      <a:endParaRPr lang="en-US" dirty="0"/>
                    </a:p>
                    <a:p>
                      <a:r>
                        <a:rPr lang="en-US" dirty="0" err="1"/>
                        <a:t>LastSensorUpdateTimestamp</a:t>
                      </a:r>
                      <a:endParaRPr lang="en-US" dirty="0"/>
                    </a:p>
                  </a:txBody>
                  <a:tcPr/>
                </a:tc>
                <a:extLst>
                  <a:ext uri="{0D108BD9-81ED-4DB2-BD59-A6C34878D82A}">
                    <a16:rowId xmlns:a16="http://schemas.microsoft.com/office/drawing/2014/main" val="2587058528"/>
                  </a:ext>
                </a:extLst>
              </a:tr>
              <a:tr h="578146">
                <a:tc>
                  <a:txBody>
                    <a:bodyPr/>
                    <a:lstStyle/>
                    <a:p>
                      <a:r>
                        <a:rPr lang="en-US" dirty="0"/>
                        <a:t>Owner</a:t>
                      </a:r>
                    </a:p>
                  </a:txBody>
                  <a:tcPr/>
                </a:tc>
                <a:tc>
                  <a:txBody>
                    <a:bodyPr/>
                    <a:lstStyle/>
                    <a:p>
                      <a:r>
                        <a:rPr lang="en-US" dirty="0"/>
                        <a:t>Mark delivery complete</a:t>
                      </a:r>
                    </a:p>
                  </a:txBody>
                  <a:tcPr/>
                </a:tc>
                <a:tc>
                  <a:txBody>
                    <a:bodyPr/>
                    <a:lstStyle/>
                    <a:p>
                      <a:r>
                        <a:rPr lang="en-US" dirty="0"/>
                        <a:t>---</a:t>
                      </a:r>
                    </a:p>
                  </a:txBody>
                  <a:tcPr/>
                </a:tc>
                <a:extLst>
                  <a:ext uri="{0D108BD9-81ED-4DB2-BD59-A6C34878D82A}">
                    <a16:rowId xmlns:a16="http://schemas.microsoft.com/office/drawing/2014/main" val="778680367"/>
                  </a:ext>
                </a:extLst>
              </a:tr>
              <a:tr h="578146">
                <a:tc>
                  <a:txBody>
                    <a:bodyPr/>
                    <a:lstStyle/>
                    <a:p>
                      <a:r>
                        <a:rPr lang="en-US" dirty="0"/>
                        <a:t>Observer</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1512822379"/>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6228706"/>
            <a:ext cx="10253482" cy="489365"/>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Use the workflow details to inform your decisions for a minimum viable set of parameters to store on your distributed ledger.</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48443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to write your workflow details as a Solidity Smart Contract</a:t>
            </a:r>
          </a:p>
        </p:txBody>
      </p:sp>
      <p:graphicFrame>
        <p:nvGraphicFramePr>
          <p:cNvPr id="3" name="Diagram 2">
            <a:extLst>
              <a:ext uri="{FF2B5EF4-FFF2-40B4-BE49-F238E27FC236}">
                <a16:creationId xmlns:a16="http://schemas.microsoft.com/office/drawing/2014/main" id="{6EDF83CD-1503-FC4E-BFDE-4E9A34FD3E5C}"/>
              </a:ext>
            </a:extLst>
          </p:cNvPr>
          <p:cNvGraphicFramePr/>
          <p:nvPr>
            <p:extLst>
              <p:ext uri="{D42A27DB-BD31-4B8C-83A1-F6EECF244321}">
                <p14:modId xmlns:p14="http://schemas.microsoft.com/office/powerpoint/2010/main" val="1612833676"/>
              </p:ext>
            </p:extLst>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038955"/>
            <a:ext cx="11922761"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bench uses both the configuration file and smart contract code file to create a blockchain application. There is a relationship between what is defined in the configuration and the code in the smart contract. </a:t>
            </a:r>
          </a:p>
        </p:txBody>
      </p:sp>
      <p:pic>
        <p:nvPicPr>
          <p:cNvPr id="12" name="Picture 11">
            <a:extLst>
              <a:ext uri="{FF2B5EF4-FFF2-40B4-BE49-F238E27FC236}">
                <a16:creationId xmlns:a16="http://schemas.microsoft.com/office/drawing/2014/main" id="{829FF354-47C2-7E47-AC9C-7AB72BB46B0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34485" y="5667028"/>
            <a:ext cx="2141176" cy="910753"/>
          </a:xfrm>
          <a:prstGeom prst="rect">
            <a:avLst/>
          </a:prstGeom>
          <a:solidFill>
            <a:srgbClr val="CFD5EA"/>
          </a:solidFill>
        </p:spPr>
      </p:pic>
      <p:pic>
        <p:nvPicPr>
          <p:cNvPr id="14" name="Picture 13">
            <a:extLst>
              <a:ext uri="{FF2B5EF4-FFF2-40B4-BE49-F238E27FC236}">
                <a16:creationId xmlns:a16="http://schemas.microsoft.com/office/drawing/2014/main" id="{BF1B368F-4266-DC46-B9D0-26D379BA12C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28504" y="5738854"/>
            <a:ext cx="2351379" cy="212185"/>
          </a:xfrm>
          <a:prstGeom prst="rect">
            <a:avLst/>
          </a:prstGeom>
          <a:solidFill>
            <a:srgbClr val="CFD5EA"/>
          </a:solidFill>
        </p:spPr>
      </p:pic>
      <p:pic>
        <p:nvPicPr>
          <p:cNvPr id="15" name="Picture 14">
            <a:extLst>
              <a:ext uri="{FF2B5EF4-FFF2-40B4-BE49-F238E27FC236}">
                <a16:creationId xmlns:a16="http://schemas.microsoft.com/office/drawing/2014/main" id="{A4316DF5-16DB-D045-A90D-7283EECB1EBE}"/>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4962798" y="5667028"/>
            <a:ext cx="2480525" cy="419370"/>
          </a:xfrm>
          <a:prstGeom prst="rect">
            <a:avLst/>
          </a:prstGeom>
          <a:solidFill>
            <a:srgbClr val="CFD5EA"/>
          </a:solidFill>
        </p:spPr>
      </p:pic>
      <p:pic>
        <p:nvPicPr>
          <p:cNvPr id="16" name="Picture 15">
            <a:extLst>
              <a:ext uri="{FF2B5EF4-FFF2-40B4-BE49-F238E27FC236}">
                <a16:creationId xmlns:a16="http://schemas.microsoft.com/office/drawing/2014/main" id="{0A6DF503-48C5-8A4E-BA5E-8C7CE78D863F}"/>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688825" y="5654562"/>
            <a:ext cx="1676045" cy="1171237"/>
          </a:xfrm>
          <a:prstGeom prst="rect">
            <a:avLst/>
          </a:prstGeom>
          <a:solidFill>
            <a:srgbClr val="CFD5EA"/>
          </a:solidFill>
        </p:spPr>
      </p:pic>
      <p:pic>
        <p:nvPicPr>
          <p:cNvPr id="18" name="Picture 17">
            <a:extLst>
              <a:ext uri="{FF2B5EF4-FFF2-40B4-BE49-F238E27FC236}">
                <a16:creationId xmlns:a16="http://schemas.microsoft.com/office/drawing/2014/main" id="{A5F98103-3AD5-D34C-86DF-5964E111CBE6}"/>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854580" y="5606432"/>
            <a:ext cx="2246252" cy="1171237"/>
          </a:xfrm>
          <a:prstGeom prst="rect">
            <a:avLst/>
          </a:prstGeom>
        </p:spPr>
      </p:pic>
    </p:spTree>
    <p:extLst>
      <p:ext uri="{BB962C8B-B14F-4D97-AF65-F5344CB8AC3E}">
        <p14:creationId xmlns:p14="http://schemas.microsoft.com/office/powerpoint/2010/main" val="174310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your Workbench JSON application configuration file</a:t>
            </a:r>
          </a:p>
        </p:txBody>
      </p:sp>
      <p:graphicFrame>
        <p:nvGraphicFramePr>
          <p:cNvPr id="3" name="Diagram 2">
            <a:extLst>
              <a:ext uri="{FF2B5EF4-FFF2-40B4-BE49-F238E27FC236}">
                <a16:creationId xmlns:a16="http://schemas.microsoft.com/office/drawing/2014/main" id="{6EDF83CD-1503-FC4E-BFDE-4E9A34FD3E5C}"/>
              </a:ext>
            </a:extLst>
          </p:cNvPr>
          <p:cNvGraphicFramePr/>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3" name="Picture 42">
            <a:extLst>
              <a:ext uri="{FF2B5EF4-FFF2-40B4-BE49-F238E27FC236}">
                <a16:creationId xmlns:a16="http://schemas.microsoft.com/office/drawing/2014/main" id="{3F2F1F6B-B56F-7445-96D5-7CA250A9D9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4485" y="5680511"/>
            <a:ext cx="1807718" cy="354523"/>
          </a:xfrm>
          <a:prstGeom prst="rect">
            <a:avLst/>
          </a:prstGeom>
        </p:spPr>
      </p:pic>
      <p:pic>
        <p:nvPicPr>
          <p:cNvPr id="45" name="Picture 44">
            <a:extLst>
              <a:ext uri="{FF2B5EF4-FFF2-40B4-BE49-F238E27FC236}">
                <a16:creationId xmlns:a16="http://schemas.microsoft.com/office/drawing/2014/main" id="{EB20666E-235D-CE42-A7ED-8203E887D2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36132" y="5680512"/>
            <a:ext cx="1810512" cy="352117"/>
          </a:xfrm>
          <a:prstGeom prst="rect">
            <a:avLst/>
          </a:prstGeom>
        </p:spPr>
      </p:pic>
      <p:pic>
        <p:nvPicPr>
          <p:cNvPr id="47" name="Picture 46">
            <a:extLst>
              <a:ext uri="{FF2B5EF4-FFF2-40B4-BE49-F238E27FC236}">
                <a16:creationId xmlns:a16="http://schemas.microsoft.com/office/drawing/2014/main" id="{4CF2D465-579B-4043-9669-5D0990C63E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86990" y="5657981"/>
            <a:ext cx="1810512" cy="680910"/>
          </a:xfrm>
          <a:prstGeom prst="rect">
            <a:avLst/>
          </a:prstGeom>
        </p:spPr>
      </p:pic>
      <p:pic>
        <p:nvPicPr>
          <p:cNvPr id="49" name="Picture 48">
            <a:extLst>
              <a:ext uri="{FF2B5EF4-FFF2-40B4-BE49-F238E27FC236}">
                <a16:creationId xmlns:a16="http://schemas.microsoft.com/office/drawing/2014/main" id="{FAA9EF34-0F0D-464B-B326-74FC339C7BC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8637" y="5699817"/>
            <a:ext cx="1810512" cy="320781"/>
          </a:xfrm>
          <a:prstGeom prst="rect">
            <a:avLst/>
          </a:prstGeom>
        </p:spPr>
      </p:pic>
      <p:pic>
        <p:nvPicPr>
          <p:cNvPr id="51" name="Picture 50">
            <a:extLst>
              <a:ext uri="{FF2B5EF4-FFF2-40B4-BE49-F238E27FC236}">
                <a16:creationId xmlns:a16="http://schemas.microsoft.com/office/drawing/2014/main" id="{4B0F2228-5F31-284A-931A-BA6B0C9481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42289" y="5699817"/>
            <a:ext cx="1810512" cy="529046"/>
          </a:xfrm>
          <a:prstGeom prst="rect">
            <a:avLst/>
          </a:prstGeom>
        </p:spPr>
      </p:pic>
      <p:pic>
        <p:nvPicPr>
          <p:cNvPr id="53" name="Picture 52">
            <a:extLst>
              <a:ext uri="{FF2B5EF4-FFF2-40B4-BE49-F238E27FC236}">
                <a16:creationId xmlns:a16="http://schemas.microsoft.com/office/drawing/2014/main" id="{73F23F0E-0F0A-7044-880E-707D24CB34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267066" y="5664856"/>
            <a:ext cx="1810512" cy="598967"/>
          </a:xfrm>
          <a:prstGeom prst="rect">
            <a:avLst/>
          </a:prstGeom>
        </p:spPr>
      </p:pic>
      <p:sp>
        <p:nvSpPr>
          <p:cNvPr id="54" name="TextBox 53">
            <a:extLst>
              <a:ext uri="{FF2B5EF4-FFF2-40B4-BE49-F238E27FC236}">
                <a16:creationId xmlns:a16="http://schemas.microsoft.com/office/drawing/2014/main" id="{A5B0CE7A-0B71-8447-94BD-5CA73F7D613A}"/>
              </a:ext>
            </a:extLst>
          </p:cNvPr>
          <p:cNvSpPr txBox="1"/>
          <p:nvPr/>
        </p:nvSpPr>
        <p:spPr>
          <a:xfrm>
            <a:off x="134484" y="1162424"/>
            <a:ext cx="11922761"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reate JSON configuration file that will contain the following application settings</a:t>
            </a:r>
          </a:p>
        </p:txBody>
      </p:sp>
    </p:spTree>
    <p:extLst>
      <p:ext uri="{BB962C8B-B14F-4D97-AF65-F5344CB8AC3E}">
        <p14:creationId xmlns:p14="http://schemas.microsoft.com/office/powerpoint/2010/main" val="46791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MVP - Solution Development and Deployment</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t>Group exercise – breaking down an MVP</a:t>
            </a:r>
          </a:p>
          <a:p>
            <a:r>
              <a:rPr lang="en-US" dirty="0">
                <a:cs typeface="Calibri"/>
              </a:rPr>
              <a:t>Individual lab – completing code for the group MVP</a:t>
            </a:r>
          </a:p>
          <a:p>
            <a:endParaRPr lang="en-US" dirty="0"/>
          </a:p>
          <a:p>
            <a:endParaRPr lang="en-US" dirty="0">
              <a:cs typeface="Calibri"/>
            </a:endParaRPr>
          </a:p>
          <a:p>
            <a:pPr marL="0" indent="0">
              <a:buNone/>
            </a:pPr>
            <a:endParaRPr lang="en-US" dirty="0">
              <a:cs typeface="Calibri"/>
            </a:endParaRPr>
          </a:p>
        </p:txBody>
      </p:sp>
    </p:spTree>
    <p:extLst>
      <p:ext uri="{BB962C8B-B14F-4D97-AF65-F5344CB8AC3E}">
        <p14:creationId xmlns:p14="http://schemas.microsoft.com/office/powerpoint/2010/main" val="3317116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idx="4294967295"/>
          </p:nvPr>
        </p:nvSpPr>
        <p:spPr>
          <a:xfrm>
            <a:off x="0" y="457200"/>
            <a:ext cx="12192000" cy="1662113"/>
          </a:xfrm>
        </p:spPr>
        <p:txBody>
          <a:bodyPr/>
          <a:lstStyle/>
          <a:p>
            <a:r>
              <a:rPr lang="en-US" sz="3600">
                <a:cs typeface="Segoe UI"/>
              </a:rPr>
              <a:t>Basic Provenance - MVP</a:t>
            </a:r>
            <a:endParaRPr lang="en-US" sz="3600" dirty="0"/>
          </a:p>
        </p:txBody>
      </p:sp>
      <p:sp>
        <p:nvSpPr>
          <p:cNvPr id="7" name="TextBox 6">
            <a:extLst>
              <a:ext uri="{FF2B5EF4-FFF2-40B4-BE49-F238E27FC236}">
                <a16:creationId xmlns:a16="http://schemas.microsoft.com/office/drawing/2014/main" id="{953D2544-1348-F24C-8B11-C5569D787AC0}"/>
              </a:ext>
            </a:extLst>
          </p:cNvPr>
          <p:cNvSpPr txBox="1"/>
          <p:nvPr/>
        </p:nvSpPr>
        <p:spPr>
          <a:xfrm>
            <a:off x="783602" y="1746126"/>
            <a:ext cx="10253482" cy="3440942"/>
          </a:xfrm>
          <a:prstGeom prst="rect">
            <a:avLst/>
          </a:prstGeom>
          <a:noFill/>
        </p:spPr>
        <p:txBody>
          <a:bodyPr wrap="square" lIns="182880" tIns="146304" rIns="182880" bIns="146304" rtlCol="0" anchor="t">
            <a:spAutoFit/>
          </a:bodyPr>
          <a:lstStyle/>
          <a:p>
            <a:pPr>
              <a:lnSpc>
                <a:spcPct val="90000"/>
              </a:lnSpc>
              <a:spcAft>
                <a:spcPts val="600"/>
              </a:spcAft>
              <a:defRPr/>
            </a:pPr>
            <a:r>
              <a:rPr lang="en-US" sz="2400" kern="0" dirty="0">
                <a:ea typeface="+mn-lt"/>
                <a:cs typeface="+mn-lt"/>
              </a:rPr>
              <a:t>The Basic Provenance application expresses a workflow for a simple record of ownership or responsibility.  </a:t>
            </a:r>
            <a:endParaRPr lang="en-US" sz="2400" kern="0">
              <a:ea typeface="+mn-lt"/>
              <a:cs typeface="+mn-lt"/>
            </a:endParaRPr>
          </a:p>
          <a:p>
            <a:pPr>
              <a:lnSpc>
                <a:spcPct val="90000"/>
              </a:lnSpc>
              <a:spcAft>
                <a:spcPts val="600"/>
              </a:spcAft>
              <a:defRPr/>
            </a:pPr>
            <a:endParaRPr lang="en-US" sz="2400" kern="0" dirty="0">
              <a:ea typeface="+mn-lt"/>
              <a:cs typeface="+mn-lt"/>
            </a:endParaRPr>
          </a:p>
          <a:p>
            <a:pPr>
              <a:lnSpc>
                <a:spcPct val="90000"/>
              </a:lnSpc>
              <a:spcAft>
                <a:spcPts val="600"/>
              </a:spcAft>
              <a:defRPr/>
            </a:pPr>
            <a:r>
              <a:rPr lang="en-US" sz="2400" kern="0" dirty="0">
                <a:ea typeface="+mn-lt"/>
                <a:cs typeface="+mn-lt"/>
              </a:rPr>
              <a:t>Basic Provenance starts when an owner wants to tracking ownership or responsibility for an asset.  Whenever a new counterparty takes ownership or responsibility of the asset, the owner transfer responsibility to the counterparty.  The counterparty can transfer the responsibility to another counterparty, or the owner can decide to complete the transfers of responsibility. </a:t>
            </a:r>
            <a:endParaRPr lang="en-US" sz="2400" dirty="0"/>
          </a:p>
        </p:txBody>
      </p:sp>
    </p:spTree>
    <p:extLst>
      <p:ext uri="{BB962C8B-B14F-4D97-AF65-F5344CB8AC3E}">
        <p14:creationId xmlns:p14="http://schemas.microsoft.com/office/powerpoint/2010/main" val="1842948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a:cs typeface="Segoe UI"/>
              </a:rPr>
              <a:t>MVP application rol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449063619"/>
              </p:ext>
            </p:extLst>
          </p:nvPr>
        </p:nvGraphicFramePr>
        <p:xfrm>
          <a:off x="737419" y="1427588"/>
          <a:ext cx="10253483" cy="3468876"/>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71685955"/>
                  </a:ext>
                </a:extLst>
              </a:tr>
            </a:tbl>
          </a:graphicData>
        </a:graphic>
      </p:graphicFrame>
      <p:sp>
        <p:nvSpPr>
          <p:cNvPr id="4" name="TextBox 3">
            <a:extLst>
              <a:ext uri="{FF2B5EF4-FFF2-40B4-BE49-F238E27FC236}">
                <a16:creationId xmlns:a16="http://schemas.microsoft.com/office/drawing/2014/main" id="{A1D9799A-4827-4213-82FD-7C79382281A4}"/>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Identify each role required to complete the smart contract and what that role is required to do</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3803503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Enumerate all of your smart contract stat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98770846"/>
              </p:ext>
            </p:extLst>
          </p:nvPr>
        </p:nvGraphicFramePr>
        <p:xfrm>
          <a:off x="737419" y="1427588"/>
          <a:ext cx="10253483" cy="2890730"/>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bl>
          </a:graphicData>
        </a:graphic>
      </p:graphicFrame>
      <p:sp>
        <p:nvSpPr>
          <p:cNvPr id="4" name="TextBox 3">
            <a:extLst>
              <a:ext uri="{FF2B5EF4-FFF2-40B4-BE49-F238E27FC236}">
                <a16:creationId xmlns:a16="http://schemas.microsoft.com/office/drawing/2014/main" id="{88A5735A-9B13-40F5-80A4-7D2AB1A58601}"/>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Contract states are immutable, and it's best to think of states that must be persisted vs. process states that are passing</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24684232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a:cs typeface="Segoe UI"/>
              </a:rPr>
              <a:t>MVP functions and parameters</a:t>
            </a:r>
            <a:endParaRPr lang="en-US" sz="3600"/>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2960558310"/>
              </p:ext>
            </p:extLst>
          </p:nvPr>
        </p:nvGraphicFramePr>
        <p:xfrm>
          <a:off x="737419" y="1122792"/>
          <a:ext cx="10253484" cy="3519888"/>
        </p:xfrm>
        <a:graphic>
          <a:graphicData uri="http://schemas.openxmlformats.org/drawingml/2006/table">
            <a:tbl>
              <a:tblPr firstRow="1" bandRow="1">
                <a:tableStyleId>{F5AB1C69-6EDB-4FF4-983F-18BD219EF322}</a:tableStyleId>
              </a:tblPr>
              <a:tblGrid>
                <a:gridCol w="1733128">
                  <a:extLst>
                    <a:ext uri="{9D8B030D-6E8A-4147-A177-3AD203B41FA5}">
                      <a16:colId xmlns:a16="http://schemas.microsoft.com/office/drawing/2014/main" val="1956135441"/>
                    </a:ext>
                  </a:extLst>
                </a:gridCol>
                <a:gridCol w="4260178">
                  <a:extLst>
                    <a:ext uri="{9D8B030D-6E8A-4147-A177-3AD203B41FA5}">
                      <a16:colId xmlns:a16="http://schemas.microsoft.com/office/drawing/2014/main" val="3448598843"/>
                    </a:ext>
                  </a:extLst>
                </a:gridCol>
                <a:gridCol w="4260178">
                  <a:extLst>
                    <a:ext uri="{9D8B030D-6E8A-4147-A177-3AD203B41FA5}">
                      <a16:colId xmlns:a16="http://schemas.microsoft.com/office/drawing/2014/main" val="924185933"/>
                    </a:ext>
                  </a:extLst>
                </a:gridCol>
              </a:tblGrid>
              <a:tr h="578146">
                <a:tc>
                  <a:txBody>
                    <a:bodyPr/>
                    <a:lstStyle/>
                    <a:p>
                      <a:r>
                        <a:rPr lang="en-US" dirty="0"/>
                        <a:t>Application Role</a:t>
                      </a:r>
                    </a:p>
                  </a:txBody>
                  <a:tcPr/>
                </a:tc>
                <a:tc>
                  <a:txBody>
                    <a:bodyPr/>
                    <a:lstStyle/>
                    <a:p>
                      <a:r>
                        <a:rPr lang="en-US" dirty="0"/>
                        <a:t>Available Functions</a:t>
                      </a:r>
                    </a:p>
                  </a:txBody>
                  <a:tcPr/>
                </a:tc>
                <a:tc>
                  <a:txBody>
                    <a:bodyPr/>
                    <a:lstStyle/>
                    <a:p>
                      <a:r>
                        <a:rPr lang="en-US" dirty="0"/>
                        <a:t>Parameters</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512822379"/>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Use the minimum viable set of parameters to store on your distributed ledger</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2708081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to write your workflow details as a Solidity Smart Contract</a:t>
            </a:r>
          </a:p>
        </p:txBody>
      </p:sp>
      <p:graphicFrame>
        <p:nvGraphicFramePr>
          <p:cNvPr id="3" name="Diagram 2">
            <a:extLst>
              <a:ext uri="{FF2B5EF4-FFF2-40B4-BE49-F238E27FC236}">
                <a16:creationId xmlns:a16="http://schemas.microsoft.com/office/drawing/2014/main" id="{6EDF83CD-1503-FC4E-BFDE-4E9A34FD3E5C}"/>
              </a:ext>
            </a:extLst>
          </p:cNvPr>
          <p:cNvGraphicFramePr/>
          <p:nvPr>
            <p:extLst>
              <p:ext uri="{D42A27DB-BD31-4B8C-83A1-F6EECF244321}">
                <p14:modId xmlns:p14="http://schemas.microsoft.com/office/powerpoint/2010/main" val="547355616"/>
              </p:ext>
            </p:extLst>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038955"/>
            <a:ext cx="11922761"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bench uses both the configuration file and smart contract code file to create a blockchain application. There is a relationship between what is defined in the configuration and the code in the smart contract. </a:t>
            </a:r>
          </a:p>
        </p:txBody>
      </p:sp>
    </p:spTree>
    <p:extLst>
      <p:ext uri="{BB962C8B-B14F-4D97-AF65-F5344CB8AC3E}">
        <p14:creationId xmlns:p14="http://schemas.microsoft.com/office/powerpoint/2010/main" val="2258529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0D8DBDB-66BB-4864-BA3B-BAC3A9E44A7A}"/>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idx="4294967295"/>
          </p:nvPr>
        </p:nvSpPr>
        <p:spPr>
          <a:xfrm>
            <a:off x="536575" y="288925"/>
            <a:ext cx="11655425" cy="1107996"/>
          </a:xfrm>
        </p:spPr>
        <p:txBody>
          <a:bodyPr/>
          <a:lstStyle/>
          <a:p>
            <a:r>
              <a:rPr lang="en-US" sz="3600" dirty="0"/>
              <a:t>Building an end-to-end blockchain app is a huge undertaking</a:t>
            </a:r>
          </a:p>
        </p:txBody>
      </p:sp>
      <p:sp>
        <p:nvSpPr>
          <p:cNvPr id="87" name="Freeform: Shape 86">
            <a:extLst>
              <a:ext uri="{FF2B5EF4-FFF2-40B4-BE49-F238E27FC236}">
                <a16:creationId xmlns:a16="http://schemas.microsoft.com/office/drawing/2014/main" id="{A28947C5-22FD-459F-B298-D10BDCE7D25E}"/>
              </a:ext>
            </a:extLst>
          </p:cNvPr>
          <p:cNvSpPr/>
          <p:nvPr/>
        </p:nvSpPr>
        <p:spPr>
          <a:xfrm rot="16200000">
            <a:off x="7756087" y="5719593"/>
            <a:ext cx="569452" cy="1706392"/>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BFFA6B39-803E-4D62-879D-3BB7A87B0AA5}"/>
              </a:ext>
            </a:extLst>
          </p:cNvPr>
          <p:cNvSpPr/>
          <p:nvPr/>
        </p:nvSpPr>
        <p:spPr>
          <a:xfrm rot="16200000">
            <a:off x="5900782" y="5722078"/>
            <a:ext cx="564479" cy="1706393"/>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9AF62A60-2795-4BDA-8AA4-FABC50EE8C49}"/>
              </a:ext>
            </a:extLst>
          </p:cNvPr>
          <p:cNvSpPr/>
          <p:nvPr/>
        </p:nvSpPr>
        <p:spPr>
          <a:xfrm rot="16200000">
            <a:off x="9613878" y="5719590"/>
            <a:ext cx="569452" cy="1706396"/>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6C7B686E-791B-4019-9872-1EC607652F2C}"/>
              </a:ext>
            </a:extLst>
          </p:cNvPr>
          <p:cNvSpPr/>
          <p:nvPr/>
        </p:nvSpPr>
        <p:spPr>
          <a:xfrm rot="16200000">
            <a:off x="11364526" y="5076517"/>
            <a:ext cx="1757936" cy="918808"/>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89818A43-6A19-4E58-84B8-17917799551C}"/>
              </a:ext>
            </a:extLst>
          </p:cNvPr>
          <p:cNvSpPr/>
          <p:nvPr/>
        </p:nvSpPr>
        <p:spPr>
          <a:xfrm rot="16200000">
            <a:off x="11273498" y="5939007"/>
            <a:ext cx="552543" cy="1284468"/>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4C534521-7640-4362-ABF8-A2FDC23CBE5E}"/>
              </a:ext>
            </a:extLst>
          </p:cNvPr>
          <p:cNvSpPr/>
          <p:nvPr/>
        </p:nvSpPr>
        <p:spPr>
          <a:xfrm rot="16200000">
            <a:off x="4063539" y="5724437"/>
            <a:ext cx="559761" cy="1706393"/>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7" name="Group 26">
            <a:extLst>
              <a:ext uri="{FF2B5EF4-FFF2-40B4-BE49-F238E27FC236}">
                <a16:creationId xmlns:a16="http://schemas.microsoft.com/office/drawing/2014/main" id="{38482E94-3DCF-42C4-9785-8D8E3510566A}"/>
              </a:ext>
            </a:extLst>
          </p:cNvPr>
          <p:cNvGrpSpPr/>
          <p:nvPr/>
        </p:nvGrpSpPr>
        <p:grpSpPr>
          <a:xfrm>
            <a:off x="5384252" y="2893863"/>
            <a:ext cx="1706393" cy="1979420"/>
            <a:chOff x="5492217" y="2951394"/>
            <a:chExt cx="1740610" cy="2019111"/>
          </a:xfrm>
        </p:grpSpPr>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ually deploy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ledger</a:t>
              </a:r>
            </a:p>
          </p:txBody>
        </p:sp>
      </p:grpSp>
      <p:grpSp>
        <p:nvGrpSpPr>
          <p:cNvPr id="25" name="Group 24">
            <a:extLst>
              <a:ext uri="{FF2B5EF4-FFF2-40B4-BE49-F238E27FC236}">
                <a16:creationId xmlns:a16="http://schemas.microsoft.com/office/drawing/2014/main" id="{5EFB88BD-36CD-434F-81A6-BC23A7A71609}"/>
              </a:ext>
            </a:extLst>
          </p:cNvPr>
          <p:cNvGrpSpPr/>
          <p:nvPr/>
        </p:nvGrpSpPr>
        <p:grpSpPr>
          <a:xfrm>
            <a:off x="7223973" y="2905449"/>
            <a:ext cx="1706393" cy="1979420"/>
            <a:chOff x="7368828" y="2963212"/>
            <a:chExt cx="1740610" cy="2019111"/>
          </a:xfrm>
        </p:grpSpPr>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a:extLst>
                <a:ext uri="{FF2B5EF4-FFF2-40B4-BE49-F238E27FC236}">
                  <a16:creationId xmlns:a16="http://schemas.microsoft.com/office/drawing/2014/main" id="{03BA73B9-2BB5-45D0-8ECC-4BADFB096241}"/>
                </a:ext>
              </a:extLst>
            </p:cNvPr>
            <p:cNvSpPr txBox="1"/>
            <p:nvPr/>
          </p:nvSpPr>
          <p:spPr>
            <a:xfrm>
              <a:off x="7385182" y="3660397"/>
              <a:ext cx="1707897" cy="627847"/>
            </a:xfrm>
            <a:prstGeom prst="rect">
              <a:avLst/>
            </a:prstGeom>
            <a:noFill/>
            <a:ln>
              <a:noFill/>
            </a:ln>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Write business logic</a:t>
              </a:r>
            </a:p>
          </p:txBody>
        </p:sp>
      </p:grpSp>
      <p:grpSp>
        <p:nvGrpSpPr>
          <p:cNvPr id="7" name="Group 6">
            <a:extLst>
              <a:ext uri="{FF2B5EF4-FFF2-40B4-BE49-F238E27FC236}">
                <a16:creationId xmlns:a16="http://schemas.microsoft.com/office/drawing/2014/main" id="{AF8CF548-9CE0-4BDC-AA2C-45554E7DD8D9}"/>
              </a:ext>
            </a:extLst>
          </p:cNvPr>
          <p:cNvGrpSpPr/>
          <p:nvPr/>
        </p:nvGrpSpPr>
        <p:grpSpPr>
          <a:xfrm>
            <a:off x="2574074" y="4579324"/>
            <a:ext cx="1758669" cy="1979420"/>
            <a:chOff x="2625689" y="4670652"/>
            <a:chExt cx="1793934" cy="2019111"/>
          </a:xfrm>
        </p:grpSpPr>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AA218FD-0DF1-4C29-B88B-361D00FE70FD}"/>
                </a:ext>
              </a:extLst>
            </p:cNvPr>
            <p:cNvSpPr txBox="1"/>
            <p:nvPr/>
          </p:nvSpPr>
          <p:spPr>
            <a:xfrm>
              <a:off x="2625689" y="5234172"/>
              <a:ext cx="179393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Orchestrate signing, hashing and routing</a:t>
              </a:r>
            </a:p>
          </p:txBody>
        </p:sp>
      </p:grpSp>
      <p:grpSp>
        <p:nvGrpSpPr>
          <p:cNvPr id="14" name="Group 13">
            <a:extLst>
              <a:ext uri="{FF2B5EF4-FFF2-40B4-BE49-F238E27FC236}">
                <a16:creationId xmlns:a16="http://schemas.microsoft.com/office/drawing/2014/main" id="{B74BDD67-E5DC-4A09-A700-1FB00D6978DB}"/>
              </a:ext>
            </a:extLst>
          </p:cNvPr>
          <p:cNvGrpSpPr/>
          <p:nvPr/>
        </p:nvGrpSpPr>
        <p:grpSpPr>
          <a:xfrm>
            <a:off x="9976471" y="4634866"/>
            <a:ext cx="1706393" cy="1979420"/>
            <a:chOff x="10176519" y="4727308"/>
            <a:chExt cx="1740610" cy="2019111"/>
          </a:xfrm>
        </p:grpSpPr>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Store smart contract reference data</a:t>
              </a:r>
            </a:p>
          </p:txBody>
        </p:sp>
      </p:grpSp>
      <p:grpSp>
        <p:nvGrpSpPr>
          <p:cNvPr id="28" name="Group 27">
            <a:extLst>
              <a:ext uri="{FF2B5EF4-FFF2-40B4-BE49-F238E27FC236}">
                <a16:creationId xmlns:a16="http://schemas.microsoft.com/office/drawing/2014/main" id="{7188A1C0-C3FA-4A95-8DED-51BF17EB4DBD}"/>
              </a:ext>
            </a:extLst>
          </p:cNvPr>
          <p:cNvGrpSpPr/>
          <p:nvPr/>
        </p:nvGrpSpPr>
        <p:grpSpPr>
          <a:xfrm>
            <a:off x="9060153" y="2947570"/>
            <a:ext cx="1706393" cy="1979420"/>
            <a:chOff x="9241827" y="3006178"/>
            <a:chExt cx="1740610" cy="2019111"/>
          </a:xfrm>
        </p:grpSpPr>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Synchronize data with off-chain DB</a:t>
              </a:r>
            </a:p>
          </p:txBody>
        </p:sp>
      </p:grpSp>
      <p:grpSp>
        <p:nvGrpSpPr>
          <p:cNvPr id="8" name="Group 7">
            <a:extLst>
              <a:ext uri="{FF2B5EF4-FFF2-40B4-BE49-F238E27FC236}">
                <a16:creationId xmlns:a16="http://schemas.microsoft.com/office/drawing/2014/main" id="{4423BAF1-2F56-47B9-8C0B-5B512D41D8D3}"/>
              </a:ext>
            </a:extLst>
          </p:cNvPr>
          <p:cNvGrpSpPr/>
          <p:nvPr/>
        </p:nvGrpSpPr>
        <p:grpSpPr>
          <a:xfrm>
            <a:off x="3555522" y="2900837"/>
            <a:ext cx="1706393" cy="1979420"/>
            <a:chOff x="3626817" y="2958508"/>
            <a:chExt cx="1740610" cy="2019111"/>
          </a:xfrm>
        </p:grpSpPr>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TextBox 60">
              <a:extLst>
                <a:ext uri="{FF2B5EF4-FFF2-40B4-BE49-F238E27FC236}">
                  <a16:creationId xmlns:a16="http://schemas.microsoft.com/office/drawing/2014/main" id="{57699EAD-2745-4EF8-A576-22ACD15662D6}"/>
                </a:ext>
              </a:extLst>
            </p:cNvPr>
            <p:cNvSpPr txBox="1"/>
            <p:nvPr/>
          </p:nvSpPr>
          <p:spPr>
            <a:xfrm>
              <a:off x="3730779" y="3532759"/>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Ingest messages and events</a:t>
              </a:r>
            </a:p>
          </p:txBody>
        </p:sp>
      </p:grpSp>
      <p:grpSp>
        <p:nvGrpSpPr>
          <p:cNvPr id="13" name="Group 12">
            <a:extLst>
              <a:ext uri="{FF2B5EF4-FFF2-40B4-BE49-F238E27FC236}">
                <a16:creationId xmlns:a16="http://schemas.microsoft.com/office/drawing/2014/main" id="{D9DAAB61-3ACB-4B12-8265-BB90AD4F4182}"/>
              </a:ext>
            </a:extLst>
          </p:cNvPr>
          <p:cNvGrpSpPr/>
          <p:nvPr/>
        </p:nvGrpSpPr>
        <p:grpSpPr>
          <a:xfrm>
            <a:off x="8114347" y="4610232"/>
            <a:ext cx="1706393" cy="1979420"/>
            <a:chOff x="8277056" y="4702180"/>
            <a:chExt cx="1740610" cy="2019111"/>
          </a:xfrm>
        </p:grpSpPr>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TextBox 63">
              <a:extLst>
                <a:ext uri="{FF2B5EF4-FFF2-40B4-BE49-F238E27FC236}">
                  <a16:creationId xmlns:a16="http://schemas.microsoft.com/office/drawing/2014/main" id="{5B88C68D-63B5-4A17-ADAD-19E80CEA11B6}"/>
                </a:ext>
              </a:extLst>
            </p:cNvPr>
            <p:cNvSpPr txBox="1"/>
            <p:nvPr/>
          </p:nvSpPr>
          <p:spPr>
            <a:xfrm>
              <a:off x="8381018" y="5384064"/>
              <a:ext cx="1532684" cy="62796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Build web client</a:t>
              </a:r>
            </a:p>
          </p:txBody>
        </p:sp>
      </p:grpSp>
      <p:grpSp>
        <p:nvGrpSpPr>
          <p:cNvPr id="3" name="Group 2">
            <a:extLst>
              <a:ext uri="{FF2B5EF4-FFF2-40B4-BE49-F238E27FC236}">
                <a16:creationId xmlns:a16="http://schemas.microsoft.com/office/drawing/2014/main" id="{A111D3A1-1A28-4260-A58D-8693F680DA99}"/>
              </a:ext>
            </a:extLst>
          </p:cNvPr>
          <p:cNvGrpSpPr/>
          <p:nvPr/>
        </p:nvGrpSpPr>
        <p:grpSpPr>
          <a:xfrm>
            <a:off x="745345" y="4585585"/>
            <a:ext cx="1706393" cy="1979420"/>
            <a:chOff x="760290" y="4677039"/>
            <a:chExt cx="1740610" cy="2019111"/>
          </a:xfrm>
        </p:grpSpPr>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TextBox 65">
              <a:extLst>
                <a:ext uri="{FF2B5EF4-FFF2-40B4-BE49-F238E27FC236}">
                  <a16:creationId xmlns:a16="http://schemas.microsoft.com/office/drawing/2014/main" id="{18308B97-763C-45A6-B77E-3641F7AE5101}"/>
                </a:ext>
              </a:extLst>
            </p:cNvPr>
            <p:cNvSpPr txBox="1"/>
            <p:nvPr/>
          </p:nvSpPr>
          <p:spPr>
            <a:xfrm>
              <a:off x="886125" y="5384064"/>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agement</a:t>
              </a:r>
            </a:p>
          </p:txBody>
        </p:sp>
      </p:grpSp>
      <p:sp>
        <p:nvSpPr>
          <p:cNvPr id="84" name="Freeform: Shape 83">
            <a:extLst>
              <a:ext uri="{FF2B5EF4-FFF2-40B4-BE49-F238E27FC236}">
                <a16:creationId xmlns:a16="http://schemas.microsoft.com/office/drawing/2014/main" id="{153ACDB3-A635-4DA3-8D67-2BD76231B060}"/>
              </a:ext>
            </a:extLst>
          </p:cNvPr>
          <p:cNvSpPr/>
          <p:nvPr/>
        </p:nvSpPr>
        <p:spPr>
          <a:xfrm rot="16200000">
            <a:off x="2242633" y="5728606"/>
            <a:ext cx="551422" cy="1706393"/>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3991BEB3-F72E-4414-A57F-7B0E6D56B828}"/>
              </a:ext>
            </a:extLst>
          </p:cNvPr>
          <p:cNvGrpSpPr/>
          <p:nvPr/>
        </p:nvGrpSpPr>
        <p:grpSpPr>
          <a:xfrm>
            <a:off x="6260887" y="4579323"/>
            <a:ext cx="1706393" cy="1979420"/>
            <a:chOff x="6386430" y="4670651"/>
            <a:chExt cx="1740610" cy="2019111"/>
          </a:xfrm>
        </p:grpSpPr>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age keys</a:t>
              </a:r>
            </a:p>
          </p:txBody>
        </p:sp>
      </p:grpSp>
      <p:grpSp>
        <p:nvGrpSpPr>
          <p:cNvPr id="11" name="Group 10">
            <a:extLst>
              <a:ext uri="{FF2B5EF4-FFF2-40B4-BE49-F238E27FC236}">
                <a16:creationId xmlns:a16="http://schemas.microsoft.com/office/drawing/2014/main" id="{9834BDA1-8BCE-4303-933A-25C26D6DD590}"/>
              </a:ext>
            </a:extLst>
          </p:cNvPr>
          <p:cNvGrpSpPr/>
          <p:nvPr/>
        </p:nvGrpSpPr>
        <p:grpSpPr>
          <a:xfrm>
            <a:off x="4432157" y="4585311"/>
            <a:ext cx="1706393" cy="1979420"/>
            <a:chOff x="4521030" y="4676759"/>
            <a:chExt cx="1740610" cy="2019111"/>
          </a:xfrm>
        </p:grpSpPr>
        <p:sp>
          <p:nvSpPr>
            <p:cNvPr id="21" name="Hexagon 20">
              <a:extLst>
                <a:ext uri="{FF2B5EF4-FFF2-40B4-BE49-F238E27FC236}">
                  <a16:creationId xmlns:a16="http://schemas.microsoft.com/office/drawing/2014/main" id="{09C9F131-CCBC-41E8-B3AC-CFF8F5E30325}"/>
                </a:ext>
              </a:extLst>
            </p:cNvPr>
            <p:cNvSpPr/>
            <p:nvPr/>
          </p:nvSpPr>
          <p:spPr>
            <a:xfrm rot="16200000">
              <a:off x="4381779" y="481601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TextBox 57">
              <a:extLst>
                <a:ext uri="{FF2B5EF4-FFF2-40B4-BE49-F238E27FC236}">
                  <a16:creationId xmlns:a16="http://schemas.microsoft.com/office/drawing/2014/main" id="{7FC6A485-F158-4A93-BCCF-FB4ACA8D6167}"/>
                </a:ext>
              </a:extLst>
            </p:cNvPr>
            <p:cNvSpPr txBox="1"/>
            <p:nvPr/>
          </p:nvSpPr>
          <p:spPr>
            <a:xfrm>
              <a:off x="4637689" y="5328435"/>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Customize integrations</a:t>
              </a:r>
            </a:p>
          </p:txBody>
        </p:sp>
      </p:grpSp>
      <p:sp>
        <p:nvSpPr>
          <p:cNvPr id="91" name="Freeform: Shape 90">
            <a:extLst>
              <a:ext uri="{FF2B5EF4-FFF2-40B4-BE49-F238E27FC236}">
                <a16:creationId xmlns:a16="http://schemas.microsoft.com/office/drawing/2014/main" id="{D2D6DBF8-72E9-4192-AFCD-98C7EC15F287}"/>
              </a:ext>
            </a:extLst>
          </p:cNvPr>
          <p:cNvSpPr/>
          <p:nvPr/>
        </p:nvSpPr>
        <p:spPr>
          <a:xfrm rot="16200000">
            <a:off x="441523" y="5856230"/>
            <a:ext cx="559762" cy="1442807"/>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022928FE-4494-479C-AA64-97B018D142D1}"/>
              </a:ext>
            </a:extLst>
          </p:cNvPr>
          <p:cNvSpPr/>
          <p:nvPr/>
        </p:nvSpPr>
        <p:spPr>
          <a:xfrm rot="16200000">
            <a:off x="11220981" y="2055375"/>
            <a:ext cx="1536451" cy="410228"/>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 name="Group 19">
            <a:extLst>
              <a:ext uri="{FF2B5EF4-FFF2-40B4-BE49-F238E27FC236}">
                <a16:creationId xmlns:a16="http://schemas.microsoft.com/office/drawing/2014/main" id="{64F7E820-83BB-4DF9-886D-C2B8144EEBD8}"/>
              </a:ext>
            </a:extLst>
          </p:cNvPr>
          <p:cNvGrpSpPr/>
          <p:nvPr/>
        </p:nvGrpSpPr>
        <p:grpSpPr>
          <a:xfrm>
            <a:off x="10863821" y="2918796"/>
            <a:ext cx="1502555" cy="1979420"/>
            <a:chOff x="11081663" y="2976827"/>
            <a:chExt cx="1532684" cy="2019111"/>
          </a:xfrm>
        </p:grpSpPr>
        <p:sp>
          <p:nvSpPr>
            <p:cNvPr id="50" name="Freeform: Shape 49">
              <a:extLst>
                <a:ext uri="{FF2B5EF4-FFF2-40B4-BE49-F238E27FC236}">
                  <a16:creationId xmlns:a16="http://schemas.microsoft.com/office/drawing/2014/main" id="{3EAABD22-A07C-481D-9A1F-479CC9E8AEB8}"/>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TextBox 39">
              <a:extLst>
                <a:ext uri="{FF2B5EF4-FFF2-40B4-BE49-F238E27FC236}">
                  <a16:creationId xmlns:a16="http://schemas.microsoft.com/office/drawing/2014/main" id="{84FEA38C-8623-4F26-B7CA-C72F7FBC3C66}"/>
                </a:ext>
              </a:extLst>
            </p:cNvPr>
            <p:cNvSpPr txBox="1"/>
            <p:nvPr/>
          </p:nvSpPr>
          <p:spPr>
            <a:xfrm>
              <a:off x="11081663" y="3644678"/>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Extend capabilities</a:t>
              </a:r>
            </a:p>
          </p:txBody>
        </p:sp>
      </p:grpSp>
      <p:grpSp>
        <p:nvGrpSpPr>
          <p:cNvPr id="24" name="Group 23">
            <a:extLst>
              <a:ext uri="{FF2B5EF4-FFF2-40B4-BE49-F238E27FC236}">
                <a16:creationId xmlns:a16="http://schemas.microsoft.com/office/drawing/2014/main" id="{AEA74463-7973-4FF4-BF28-68D68E49D095}"/>
              </a:ext>
            </a:extLst>
          </p:cNvPr>
          <p:cNvGrpSpPr/>
          <p:nvPr/>
        </p:nvGrpSpPr>
        <p:grpSpPr>
          <a:xfrm>
            <a:off x="8153743" y="1232114"/>
            <a:ext cx="1706393" cy="1979420"/>
            <a:chOff x="8317242" y="1256324"/>
            <a:chExt cx="1740610" cy="2019111"/>
          </a:xfrm>
        </p:grpSpPr>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Integrate with existing business apps</a:t>
              </a:r>
            </a:p>
          </p:txBody>
        </p:sp>
      </p:grpSp>
      <p:grpSp>
        <p:nvGrpSpPr>
          <p:cNvPr id="22" name="Group 21">
            <a:extLst>
              <a:ext uri="{FF2B5EF4-FFF2-40B4-BE49-F238E27FC236}">
                <a16:creationId xmlns:a16="http://schemas.microsoft.com/office/drawing/2014/main" id="{3115AA85-051F-4753-9842-77E30BF1AD72}"/>
              </a:ext>
            </a:extLst>
          </p:cNvPr>
          <p:cNvGrpSpPr/>
          <p:nvPr/>
        </p:nvGrpSpPr>
        <p:grpSpPr>
          <a:xfrm>
            <a:off x="9961727" y="1277325"/>
            <a:ext cx="1706393" cy="1979420"/>
            <a:chOff x="10161480" y="1302441"/>
            <a:chExt cx="1740610" cy="2019111"/>
          </a:xfrm>
        </p:grpSpPr>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Configure consortium network </a:t>
              </a:r>
            </a:p>
          </p:txBody>
        </p:sp>
      </p:grpSp>
      <p:grpSp>
        <p:nvGrpSpPr>
          <p:cNvPr id="26" name="Group 25">
            <a:extLst>
              <a:ext uri="{FF2B5EF4-FFF2-40B4-BE49-F238E27FC236}">
                <a16:creationId xmlns:a16="http://schemas.microsoft.com/office/drawing/2014/main" id="{B5453DE2-86FA-43AB-9790-773C0C06D519}"/>
              </a:ext>
            </a:extLst>
          </p:cNvPr>
          <p:cNvGrpSpPr/>
          <p:nvPr/>
        </p:nvGrpSpPr>
        <p:grpSpPr>
          <a:xfrm>
            <a:off x="6297989" y="1202556"/>
            <a:ext cx="1706393" cy="1979420"/>
            <a:chOff x="6424276" y="1226173"/>
            <a:chExt cx="1740610" cy="2019111"/>
          </a:xfrm>
        </p:grpSpPr>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a:extLst>
                <a:ext uri="{FF2B5EF4-FFF2-40B4-BE49-F238E27FC236}">
                  <a16:creationId xmlns:a16="http://schemas.microsoft.com/office/drawing/2014/main" id="{DCF8318B-FB9B-49D4-BA2B-D855A29B43D5}"/>
                </a:ext>
              </a:extLst>
            </p:cNvPr>
            <p:cNvSpPr txBox="1"/>
            <p:nvPr/>
          </p:nvSpPr>
          <p:spPr>
            <a:xfrm>
              <a:off x="6528238" y="1783306"/>
              <a:ext cx="1532684" cy="118208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Link to federated identity systems</a:t>
              </a:r>
            </a:p>
          </p:txBody>
        </p:sp>
      </p:grpSp>
    </p:spTree>
    <p:extLst>
      <p:ext uri="{BB962C8B-B14F-4D97-AF65-F5344CB8AC3E}">
        <p14:creationId xmlns:p14="http://schemas.microsoft.com/office/powerpoint/2010/main" val="3203061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15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anim calcmode="lin" valueType="num">
                                      <p:cBhvr>
                                        <p:cTn id="14" dur="500" fill="hold"/>
                                        <p:tgtEl>
                                          <p:spTgt spid="91"/>
                                        </p:tgtEl>
                                        <p:attrNameLst>
                                          <p:attrName>ppt_x</p:attrName>
                                        </p:attrNameLst>
                                      </p:cBhvr>
                                      <p:tavLst>
                                        <p:tav tm="0">
                                          <p:val>
                                            <p:strVal val="#ppt_x"/>
                                          </p:val>
                                        </p:tav>
                                        <p:tav tm="100000">
                                          <p:val>
                                            <p:strVal val="#ppt_x"/>
                                          </p:val>
                                        </p:tav>
                                      </p:tavLst>
                                    </p:anim>
                                    <p:anim calcmode="lin" valueType="num">
                                      <p:cBhvr>
                                        <p:cTn id="15" dur="500" fill="hold"/>
                                        <p:tgtEl>
                                          <p:spTgt spid="91"/>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15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anim calcmode="lin" valueType="num">
                                      <p:cBhvr>
                                        <p:cTn id="19" dur="500" fill="hold"/>
                                        <p:tgtEl>
                                          <p:spTgt spid="22"/>
                                        </p:tgtEl>
                                        <p:attrNameLst>
                                          <p:attrName>ppt_x</p:attrName>
                                        </p:attrNameLst>
                                      </p:cBhvr>
                                      <p:tavLst>
                                        <p:tav tm="0">
                                          <p:val>
                                            <p:strVal val="#ppt_x"/>
                                          </p:val>
                                        </p:tav>
                                        <p:tav tm="100000">
                                          <p:val>
                                            <p:strVal val="#ppt_x"/>
                                          </p:val>
                                        </p:tav>
                                      </p:tavLst>
                                    </p:anim>
                                    <p:anim calcmode="lin" valueType="num">
                                      <p:cBhvr>
                                        <p:cTn id="20" dur="500" fill="hold"/>
                                        <p:tgtEl>
                                          <p:spTgt spid="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1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anim calcmode="lin" valueType="num">
                                      <p:cBhvr>
                                        <p:cTn id="24" dur="500" fill="hold"/>
                                        <p:tgtEl>
                                          <p:spTgt spid="7"/>
                                        </p:tgtEl>
                                        <p:attrNameLst>
                                          <p:attrName>ppt_x</p:attrName>
                                        </p:attrNameLst>
                                      </p:cBhvr>
                                      <p:tavLst>
                                        <p:tav tm="0">
                                          <p:val>
                                            <p:strVal val="#ppt_x"/>
                                          </p:val>
                                        </p:tav>
                                        <p:tav tm="100000">
                                          <p:val>
                                            <p:strVal val="#ppt_x"/>
                                          </p:val>
                                        </p:tav>
                                      </p:tavLst>
                                    </p:anim>
                                    <p:anim calcmode="lin" valueType="num">
                                      <p:cBhvr>
                                        <p:cTn id="25" dur="500" fill="hold"/>
                                        <p:tgtEl>
                                          <p:spTgt spid="7"/>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42" presetClass="entr" presetSubtype="0" fill="hold" grpId="0" nodeType="after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anim calcmode="lin" valueType="num">
                                      <p:cBhvr>
                                        <p:cTn id="30" dur="500" fill="hold"/>
                                        <p:tgtEl>
                                          <p:spTgt spid="85"/>
                                        </p:tgtEl>
                                        <p:attrNameLst>
                                          <p:attrName>ppt_x</p:attrName>
                                        </p:attrNameLst>
                                      </p:cBhvr>
                                      <p:tavLst>
                                        <p:tav tm="0">
                                          <p:val>
                                            <p:strVal val="#ppt_x"/>
                                          </p:val>
                                        </p:tav>
                                        <p:tav tm="100000">
                                          <p:val>
                                            <p:strVal val="#ppt_x"/>
                                          </p:val>
                                        </p:tav>
                                      </p:tavLst>
                                    </p:anim>
                                    <p:anim calcmode="lin" valueType="num">
                                      <p:cBhvr>
                                        <p:cTn id="31" dur="500" fill="hold"/>
                                        <p:tgtEl>
                                          <p:spTgt spid="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anim calcmode="lin" valueType="num">
                                      <p:cBhvr>
                                        <p:cTn id="35" dur="500" fill="hold"/>
                                        <p:tgtEl>
                                          <p:spTgt spid="8"/>
                                        </p:tgtEl>
                                        <p:attrNameLst>
                                          <p:attrName>ppt_x</p:attrName>
                                        </p:attrNameLst>
                                      </p:cBhvr>
                                      <p:tavLst>
                                        <p:tav tm="0">
                                          <p:val>
                                            <p:strVal val="#ppt_x"/>
                                          </p:val>
                                        </p:tav>
                                        <p:tav tm="100000">
                                          <p:val>
                                            <p:strVal val="#ppt_x"/>
                                          </p:val>
                                        </p:tav>
                                      </p:tavLst>
                                    </p:anim>
                                    <p:anim calcmode="lin" valueType="num">
                                      <p:cBhvr>
                                        <p:cTn id="36" dur="500" fill="hold"/>
                                        <p:tgtEl>
                                          <p:spTgt spid="8"/>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anim calcmode="lin" valueType="num">
                                      <p:cBhvr>
                                        <p:cTn id="40" dur="500" fill="hold"/>
                                        <p:tgtEl>
                                          <p:spTgt spid="27"/>
                                        </p:tgtEl>
                                        <p:attrNameLst>
                                          <p:attrName>ppt_x</p:attrName>
                                        </p:attrNameLst>
                                      </p:cBhvr>
                                      <p:tavLst>
                                        <p:tav tm="0">
                                          <p:val>
                                            <p:strVal val="#ppt_x"/>
                                          </p:val>
                                        </p:tav>
                                        <p:tav tm="100000">
                                          <p:val>
                                            <p:strVal val="#ppt_x"/>
                                          </p:val>
                                        </p:tav>
                                      </p:tavLst>
                                    </p:anim>
                                    <p:anim calcmode="lin" valueType="num">
                                      <p:cBhvr>
                                        <p:cTn id="41" dur="500" fill="hold"/>
                                        <p:tgtEl>
                                          <p:spTgt spid="27"/>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anim calcmode="lin" valueType="num">
                                      <p:cBhvr>
                                        <p:cTn id="46" dur="500" fill="hold"/>
                                        <p:tgtEl>
                                          <p:spTgt spid="51"/>
                                        </p:tgtEl>
                                        <p:attrNameLst>
                                          <p:attrName>ppt_x</p:attrName>
                                        </p:attrNameLst>
                                      </p:cBhvr>
                                      <p:tavLst>
                                        <p:tav tm="0">
                                          <p:val>
                                            <p:strVal val="#ppt_x"/>
                                          </p:val>
                                        </p:tav>
                                        <p:tav tm="100000">
                                          <p:val>
                                            <p:strVal val="#ppt_x"/>
                                          </p:val>
                                        </p:tav>
                                      </p:tavLst>
                                    </p:anim>
                                    <p:anim calcmode="lin" valueType="num">
                                      <p:cBhvr>
                                        <p:cTn id="47" dur="500" fill="hold"/>
                                        <p:tgtEl>
                                          <p:spTgt spid="5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fade">
                                      <p:cBhvr>
                                        <p:cTn id="50" dur="500"/>
                                        <p:tgtEl>
                                          <p:spTgt spid="3"/>
                                        </p:tgtEl>
                                      </p:cBhvr>
                                    </p:animEffect>
                                    <p:anim calcmode="lin" valueType="num">
                                      <p:cBhvr>
                                        <p:cTn id="51" dur="500" fill="hold"/>
                                        <p:tgtEl>
                                          <p:spTgt spid="3"/>
                                        </p:tgtEl>
                                        <p:attrNameLst>
                                          <p:attrName>ppt_x</p:attrName>
                                        </p:attrNameLst>
                                      </p:cBhvr>
                                      <p:tavLst>
                                        <p:tav tm="0">
                                          <p:val>
                                            <p:strVal val="#ppt_x"/>
                                          </p:val>
                                        </p:tav>
                                        <p:tav tm="100000">
                                          <p:val>
                                            <p:strVal val="#ppt_x"/>
                                          </p:val>
                                        </p:tav>
                                      </p:tavLst>
                                    </p:anim>
                                    <p:anim calcmode="lin" valueType="num">
                                      <p:cBhvr>
                                        <p:cTn id="52" dur="500" fill="hold"/>
                                        <p:tgtEl>
                                          <p:spTgt spid="3"/>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anim calcmode="lin" valueType="num">
                                      <p:cBhvr>
                                        <p:cTn id="56" dur="500" fill="hold"/>
                                        <p:tgtEl>
                                          <p:spTgt spid="24"/>
                                        </p:tgtEl>
                                        <p:attrNameLst>
                                          <p:attrName>ppt_x</p:attrName>
                                        </p:attrNameLst>
                                      </p:cBhvr>
                                      <p:tavLst>
                                        <p:tav tm="0">
                                          <p:val>
                                            <p:strVal val="#ppt_x"/>
                                          </p:val>
                                        </p:tav>
                                        <p:tav tm="100000">
                                          <p:val>
                                            <p:strVal val="#ppt_x"/>
                                          </p:val>
                                        </p:tav>
                                      </p:tavLst>
                                    </p:anim>
                                    <p:anim calcmode="lin" valueType="num">
                                      <p:cBhvr>
                                        <p:cTn id="57" dur="500" fill="hold"/>
                                        <p:tgtEl>
                                          <p:spTgt spid="24"/>
                                        </p:tgtEl>
                                        <p:attrNameLst>
                                          <p:attrName>ppt_y</p:attrName>
                                        </p:attrNameLst>
                                      </p:cBhvr>
                                      <p:tavLst>
                                        <p:tav tm="0">
                                          <p:val>
                                            <p:strVal val="#ppt_y+.1"/>
                                          </p:val>
                                        </p:tav>
                                        <p:tav tm="100000">
                                          <p:val>
                                            <p:strVal val="#ppt_y"/>
                                          </p:val>
                                        </p:tav>
                                      </p:tavLst>
                                    </p:anim>
                                  </p:childTnLst>
                                </p:cTn>
                              </p:par>
                            </p:childTnLst>
                          </p:cTn>
                        </p:par>
                        <p:par>
                          <p:cTn id="58" fill="hold">
                            <p:stCondLst>
                              <p:cond delay="3500"/>
                            </p:stCondLst>
                            <p:childTnLst>
                              <p:par>
                                <p:cTn id="59" presetID="42" presetClass="entr" presetSubtype="0" fill="hold" grpId="0"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fade">
                                      <p:cBhvr>
                                        <p:cTn id="61" dur="500"/>
                                        <p:tgtEl>
                                          <p:spTgt spid="88"/>
                                        </p:tgtEl>
                                      </p:cBhvr>
                                    </p:animEffect>
                                    <p:anim calcmode="lin" valueType="num">
                                      <p:cBhvr>
                                        <p:cTn id="62" dur="500" fill="hold"/>
                                        <p:tgtEl>
                                          <p:spTgt spid="88"/>
                                        </p:tgtEl>
                                        <p:attrNameLst>
                                          <p:attrName>ppt_x</p:attrName>
                                        </p:attrNameLst>
                                      </p:cBhvr>
                                      <p:tavLst>
                                        <p:tav tm="0">
                                          <p:val>
                                            <p:strVal val="#ppt_x"/>
                                          </p:val>
                                        </p:tav>
                                        <p:tav tm="100000">
                                          <p:val>
                                            <p:strVal val="#ppt_x"/>
                                          </p:val>
                                        </p:tav>
                                      </p:tavLst>
                                    </p:anim>
                                    <p:anim calcmode="lin" valueType="num">
                                      <p:cBhvr>
                                        <p:cTn id="63" dur="500" fill="hold"/>
                                        <p:tgtEl>
                                          <p:spTgt spid="88"/>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500"/>
                                        <p:tgtEl>
                                          <p:spTgt spid="13"/>
                                        </p:tgtEl>
                                      </p:cBhvr>
                                    </p:animEffect>
                                    <p:anim calcmode="lin" valueType="num">
                                      <p:cBhvr>
                                        <p:cTn id="67" dur="500" fill="hold"/>
                                        <p:tgtEl>
                                          <p:spTgt spid="13"/>
                                        </p:tgtEl>
                                        <p:attrNameLst>
                                          <p:attrName>ppt_x</p:attrName>
                                        </p:attrNameLst>
                                      </p:cBhvr>
                                      <p:tavLst>
                                        <p:tav tm="0">
                                          <p:val>
                                            <p:strVal val="#ppt_x"/>
                                          </p:val>
                                        </p:tav>
                                        <p:tav tm="100000">
                                          <p:val>
                                            <p:strVal val="#ppt_x"/>
                                          </p:val>
                                        </p:tav>
                                      </p:tavLst>
                                    </p:anim>
                                    <p:anim calcmode="lin" valueType="num">
                                      <p:cBhvr>
                                        <p:cTn id="68" dur="500" fill="hold"/>
                                        <p:tgtEl>
                                          <p:spTgt spid="1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anim calcmode="lin" valueType="num">
                                      <p:cBhvr>
                                        <p:cTn id="72" dur="500" fill="hold"/>
                                        <p:tgtEl>
                                          <p:spTgt spid="86"/>
                                        </p:tgtEl>
                                        <p:attrNameLst>
                                          <p:attrName>ppt_x</p:attrName>
                                        </p:attrNameLst>
                                      </p:cBhvr>
                                      <p:tavLst>
                                        <p:tav tm="0">
                                          <p:val>
                                            <p:strVal val="#ppt_x"/>
                                          </p:val>
                                        </p:tav>
                                        <p:tav tm="100000">
                                          <p:val>
                                            <p:strVal val="#ppt_x"/>
                                          </p:val>
                                        </p:tav>
                                      </p:tavLst>
                                    </p:anim>
                                    <p:anim calcmode="lin" valueType="num">
                                      <p:cBhvr>
                                        <p:cTn id="73" dur="500" fill="hold"/>
                                        <p:tgtEl>
                                          <p:spTgt spid="86"/>
                                        </p:tgtEl>
                                        <p:attrNameLst>
                                          <p:attrName>ppt_y</p:attrName>
                                        </p:attrNameLst>
                                      </p:cBhvr>
                                      <p:tavLst>
                                        <p:tav tm="0">
                                          <p:val>
                                            <p:strVal val="#ppt_y+.1"/>
                                          </p:val>
                                        </p:tav>
                                        <p:tav tm="100000">
                                          <p:val>
                                            <p:strVal val="#ppt_y"/>
                                          </p:val>
                                        </p:tav>
                                      </p:tavLst>
                                    </p:anim>
                                  </p:childTnLst>
                                </p:cTn>
                              </p:par>
                            </p:childTnLst>
                          </p:cTn>
                        </p:par>
                        <p:par>
                          <p:cTn id="74" fill="hold">
                            <p:stCondLst>
                              <p:cond delay="4000"/>
                            </p:stCondLst>
                            <p:childTnLst>
                              <p:par>
                                <p:cTn id="75" presetID="42" presetClass="entr" presetSubtype="0" fill="hold" nodeType="after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anim calcmode="lin" valueType="num">
                                      <p:cBhvr>
                                        <p:cTn id="78" dur="500" fill="hold"/>
                                        <p:tgtEl>
                                          <p:spTgt spid="14"/>
                                        </p:tgtEl>
                                        <p:attrNameLst>
                                          <p:attrName>ppt_x</p:attrName>
                                        </p:attrNameLst>
                                      </p:cBhvr>
                                      <p:tavLst>
                                        <p:tav tm="0">
                                          <p:val>
                                            <p:strVal val="#ppt_x"/>
                                          </p:val>
                                        </p:tav>
                                        <p:tav tm="100000">
                                          <p:val>
                                            <p:strVal val="#ppt_x"/>
                                          </p:val>
                                        </p:tav>
                                      </p:tavLst>
                                    </p:anim>
                                    <p:anim calcmode="lin" valueType="num">
                                      <p:cBhvr>
                                        <p:cTn id="79" dur="500" fill="hold"/>
                                        <p:tgtEl>
                                          <p:spTgt spid="1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84"/>
                                        </p:tgtEl>
                                        <p:attrNameLst>
                                          <p:attrName>style.visibility</p:attrName>
                                        </p:attrNameLst>
                                      </p:cBhvr>
                                      <p:to>
                                        <p:strVal val="visible"/>
                                      </p:to>
                                    </p:set>
                                    <p:animEffect transition="in" filter="fade">
                                      <p:cBhvr>
                                        <p:cTn id="82" dur="500"/>
                                        <p:tgtEl>
                                          <p:spTgt spid="84"/>
                                        </p:tgtEl>
                                      </p:cBhvr>
                                    </p:animEffect>
                                    <p:anim calcmode="lin" valueType="num">
                                      <p:cBhvr>
                                        <p:cTn id="83" dur="500" fill="hold"/>
                                        <p:tgtEl>
                                          <p:spTgt spid="84"/>
                                        </p:tgtEl>
                                        <p:attrNameLst>
                                          <p:attrName>ppt_x</p:attrName>
                                        </p:attrNameLst>
                                      </p:cBhvr>
                                      <p:tavLst>
                                        <p:tav tm="0">
                                          <p:val>
                                            <p:strVal val="#ppt_x"/>
                                          </p:val>
                                        </p:tav>
                                        <p:tav tm="100000">
                                          <p:val>
                                            <p:strVal val="#ppt_x"/>
                                          </p:val>
                                        </p:tav>
                                      </p:tavLst>
                                    </p:anim>
                                    <p:anim calcmode="lin" valueType="num">
                                      <p:cBhvr>
                                        <p:cTn id="84" dur="500" fill="hold"/>
                                        <p:tgtEl>
                                          <p:spTgt spid="84"/>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500"/>
                                        <p:tgtEl>
                                          <p:spTgt spid="26"/>
                                        </p:tgtEl>
                                      </p:cBhvr>
                                    </p:animEffect>
                                    <p:anim calcmode="lin" valueType="num">
                                      <p:cBhvr>
                                        <p:cTn id="88" dur="500" fill="hold"/>
                                        <p:tgtEl>
                                          <p:spTgt spid="26"/>
                                        </p:tgtEl>
                                        <p:attrNameLst>
                                          <p:attrName>ppt_x</p:attrName>
                                        </p:attrNameLst>
                                      </p:cBhvr>
                                      <p:tavLst>
                                        <p:tav tm="0">
                                          <p:val>
                                            <p:strVal val="#ppt_x"/>
                                          </p:val>
                                        </p:tav>
                                        <p:tav tm="100000">
                                          <p:val>
                                            <p:strVal val="#ppt_x"/>
                                          </p:val>
                                        </p:tav>
                                      </p:tavLst>
                                    </p:anim>
                                    <p:anim calcmode="lin" valueType="num">
                                      <p:cBhvr>
                                        <p:cTn id="89" dur="500" fill="hold"/>
                                        <p:tgtEl>
                                          <p:spTgt spid="26"/>
                                        </p:tgtEl>
                                        <p:attrNameLst>
                                          <p:attrName>ppt_y</p:attrName>
                                        </p:attrNameLst>
                                      </p:cBhvr>
                                      <p:tavLst>
                                        <p:tav tm="0">
                                          <p:val>
                                            <p:strVal val="#ppt_y+.1"/>
                                          </p:val>
                                        </p:tav>
                                        <p:tav tm="100000">
                                          <p:val>
                                            <p:strVal val="#ppt_y"/>
                                          </p:val>
                                        </p:tav>
                                      </p:tavLst>
                                    </p:anim>
                                  </p:childTnLst>
                                </p:cTn>
                              </p:par>
                            </p:childTnLst>
                          </p:cTn>
                        </p:par>
                        <p:par>
                          <p:cTn id="90" fill="hold">
                            <p:stCondLst>
                              <p:cond delay="4500"/>
                            </p:stCondLst>
                            <p:childTnLst>
                              <p:par>
                                <p:cTn id="91" presetID="42" presetClass="entr" presetSubtype="0" fill="hold" grpId="0" nodeType="after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500"/>
                                        <p:tgtEl>
                                          <p:spTgt spid="87"/>
                                        </p:tgtEl>
                                      </p:cBhvr>
                                    </p:animEffect>
                                    <p:anim calcmode="lin" valueType="num">
                                      <p:cBhvr>
                                        <p:cTn id="94" dur="500" fill="hold"/>
                                        <p:tgtEl>
                                          <p:spTgt spid="87"/>
                                        </p:tgtEl>
                                        <p:attrNameLst>
                                          <p:attrName>ppt_x</p:attrName>
                                        </p:attrNameLst>
                                      </p:cBhvr>
                                      <p:tavLst>
                                        <p:tav tm="0">
                                          <p:val>
                                            <p:strVal val="#ppt_x"/>
                                          </p:val>
                                        </p:tav>
                                        <p:tav tm="100000">
                                          <p:val>
                                            <p:strVal val="#ppt_x"/>
                                          </p:val>
                                        </p:tav>
                                      </p:tavLst>
                                    </p:anim>
                                    <p:anim calcmode="lin" valueType="num">
                                      <p:cBhvr>
                                        <p:cTn id="95" dur="500" fill="hold"/>
                                        <p:tgtEl>
                                          <p:spTgt spid="87"/>
                                        </p:tgtEl>
                                        <p:attrNameLst>
                                          <p:attrName>ppt_y</p:attrName>
                                        </p:attrNameLst>
                                      </p:cBhvr>
                                      <p:tavLst>
                                        <p:tav tm="0">
                                          <p:val>
                                            <p:strVal val="#ppt_y+.1"/>
                                          </p:val>
                                        </p:tav>
                                        <p:tav tm="100000">
                                          <p:val>
                                            <p:strVal val="#ppt_y"/>
                                          </p:val>
                                        </p:tav>
                                      </p:tavLst>
                                    </p:anim>
                                  </p:childTnLst>
                                </p:cTn>
                              </p:par>
                              <p:par>
                                <p:cTn id="96" presetID="42" presetClass="entr" presetSubtype="0" fill="hold" nodeType="withEffect">
                                  <p:stCondLst>
                                    <p:cond delay="0"/>
                                  </p:stCondLst>
                                  <p:childTnLst>
                                    <p:set>
                                      <p:cBhvr>
                                        <p:cTn id="97" dur="1" fill="hold">
                                          <p:stCondLst>
                                            <p:cond delay="0"/>
                                          </p:stCondLst>
                                        </p:cTn>
                                        <p:tgtEl>
                                          <p:spTgt spid="28"/>
                                        </p:tgtEl>
                                        <p:attrNameLst>
                                          <p:attrName>style.visibility</p:attrName>
                                        </p:attrNameLst>
                                      </p:cBhvr>
                                      <p:to>
                                        <p:strVal val="visible"/>
                                      </p:to>
                                    </p:set>
                                    <p:animEffect transition="in" filter="fade">
                                      <p:cBhvr>
                                        <p:cTn id="98" dur="500"/>
                                        <p:tgtEl>
                                          <p:spTgt spid="28"/>
                                        </p:tgtEl>
                                      </p:cBhvr>
                                    </p:animEffect>
                                    <p:anim calcmode="lin" valueType="num">
                                      <p:cBhvr>
                                        <p:cTn id="99" dur="500" fill="hold"/>
                                        <p:tgtEl>
                                          <p:spTgt spid="28"/>
                                        </p:tgtEl>
                                        <p:attrNameLst>
                                          <p:attrName>ppt_x</p:attrName>
                                        </p:attrNameLst>
                                      </p:cBhvr>
                                      <p:tavLst>
                                        <p:tav tm="0">
                                          <p:val>
                                            <p:strVal val="#ppt_x"/>
                                          </p:val>
                                        </p:tav>
                                        <p:tav tm="100000">
                                          <p:val>
                                            <p:strVal val="#ppt_x"/>
                                          </p:val>
                                        </p:tav>
                                      </p:tavLst>
                                    </p:anim>
                                    <p:anim calcmode="lin" valueType="num">
                                      <p:cBhvr>
                                        <p:cTn id="100" dur="500" fill="hold"/>
                                        <p:tgtEl>
                                          <p:spTgt spid="28"/>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89"/>
                                        </p:tgtEl>
                                        <p:attrNameLst>
                                          <p:attrName>style.visibility</p:attrName>
                                        </p:attrNameLst>
                                      </p:cBhvr>
                                      <p:to>
                                        <p:strVal val="visible"/>
                                      </p:to>
                                    </p:set>
                                    <p:animEffect transition="in" filter="fade">
                                      <p:cBhvr>
                                        <p:cTn id="103" dur="500"/>
                                        <p:tgtEl>
                                          <p:spTgt spid="89"/>
                                        </p:tgtEl>
                                      </p:cBhvr>
                                    </p:animEffect>
                                    <p:anim calcmode="lin" valueType="num">
                                      <p:cBhvr>
                                        <p:cTn id="104" dur="500" fill="hold"/>
                                        <p:tgtEl>
                                          <p:spTgt spid="89"/>
                                        </p:tgtEl>
                                        <p:attrNameLst>
                                          <p:attrName>ppt_x</p:attrName>
                                        </p:attrNameLst>
                                      </p:cBhvr>
                                      <p:tavLst>
                                        <p:tav tm="0">
                                          <p:val>
                                            <p:strVal val="#ppt_x"/>
                                          </p:val>
                                        </p:tav>
                                        <p:tav tm="100000">
                                          <p:val>
                                            <p:strVal val="#ppt_x"/>
                                          </p:val>
                                        </p:tav>
                                      </p:tavLst>
                                    </p:anim>
                                    <p:anim calcmode="lin" valueType="num">
                                      <p:cBhvr>
                                        <p:cTn id="105" dur="500" fill="hold"/>
                                        <p:tgtEl>
                                          <p:spTgt spid="89"/>
                                        </p:tgtEl>
                                        <p:attrNameLst>
                                          <p:attrName>ppt_y</p:attrName>
                                        </p:attrNameLst>
                                      </p:cBhvr>
                                      <p:tavLst>
                                        <p:tav tm="0">
                                          <p:val>
                                            <p:strVal val="#ppt_y+.1"/>
                                          </p:val>
                                        </p:tav>
                                        <p:tav tm="100000">
                                          <p:val>
                                            <p:strVal val="#ppt_y"/>
                                          </p:val>
                                        </p:tav>
                                      </p:tavLst>
                                    </p:anim>
                                  </p:childTnLst>
                                </p:cTn>
                              </p:par>
                            </p:childTnLst>
                          </p:cTn>
                        </p:par>
                        <p:par>
                          <p:cTn id="106" fill="hold">
                            <p:stCondLst>
                              <p:cond delay="5000"/>
                            </p:stCondLst>
                            <p:childTnLst>
                              <p:par>
                                <p:cTn id="107" presetID="42" presetClass="entr" presetSubtype="0" fill="hold" nodeType="after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anim calcmode="lin" valueType="num">
                                      <p:cBhvr>
                                        <p:cTn id="110" dur="500" fill="hold"/>
                                        <p:tgtEl>
                                          <p:spTgt spid="12"/>
                                        </p:tgtEl>
                                        <p:attrNameLst>
                                          <p:attrName>ppt_x</p:attrName>
                                        </p:attrNameLst>
                                      </p:cBhvr>
                                      <p:tavLst>
                                        <p:tav tm="0">
                                          <p:val>
                                            <p:strVal val="#ppt_x"/>
                                          </p:val>
                                        </p:tav>
                                        <p:tav tm="100000">
                                          <p:val>
                                            <p:strVal val="#ppt_x"/>
                                          </p:val>
                                        </p:tav>
                                      </p:tavLst>
                                    </p:anim>
                                    <p:anim calcmode="lin" valueType="num">
                                      <p:cBhvr>
                                        <p:cTn id="111" dur="500" fill="hold"/>
                                        <p:tgtEl>
                                          <p:spTgt spid="12"/>
                                        </p:tgtEl>
                                        <p:attrNameLst>
                                          <p:attrName>ppt_y</p:attrName>
                                        </p:attrNameLst>
                                      </p:cBhvr>
                                      <p:tavLst>
                                        <p:tav tm="0">
                                          <p:val>
                                            <p:strVal val="#ppt_y+.1"/>
                                          </p:val>
                                        </p:tav>
                                        <p:tav tm="100000">
                                          <p:val>
                                            <p:strVal val="#ppt_y"/>
                                          </p:val>
                                        </p:tav>
                                      </p:tavLst>
                                    </p:anim>
                                  </p:childTnLst>
                                </p:cTn>
                              </p:par>
                              <p:par>
                                <p:cTn id="112" presetID="42" presetClass="entr" presetSubtype="0" fill="hold" nodeType="withEffect">
                                  <p:stCondLst>
                                    <p:cond delay="0"/>
                                  </p:stCondLst>
                                  <p:childTnLst>
                                    <p:set>
                                      <p:cBhvr>
                                        <p:cTn id="113" dur="1" fill="hold">
                                          <p:stCondLst>
                                            <p:cond delay="0"/>
                                          </p:stCondLst>
                                        </p:cTn>
                                        <p:tgtEl>
                                          <p:spTgt spid="11"/>
                                        </p:tgtEl>
                                        <p:attrNameLst>
                                          <p:attrName>style.visibility</p:attrName>
                                        </p:attrNameLst>
                                      </p:cBhvr>
                                      <p:to>
                                        <p:strVal val="visible"/>
                                      </p:to>
                                    </p:set>
                                    <p:animEffect transition="in" filter="fade">
                                      <p:cBhvr>
                                        <p:cTn id="114" dur="500"/>
                                        <p:tgtEl>
                                          <p:spTgt spid="11"/>
                                        </p:tgtEl>
                                      </p:cBhvr>
                                    </p:animEffect>
                                    <p:anim calcmode="lin" valueType="num">
                                      <p:cBhvr>
                                        <p:cTn id="115" dur="500" fill="hold"/>
                                        <p:tgtEl>
                                          <p:spTgt spid="11"/>
                                        </p:tgtEl>
                                        <p:attrNameLst>
                                          <p:attrName>ppt_x</p:attrName>
                                        </p:attrNameLst>
                                      </p:cBhvr>
                                      <p:tavLst>
                                        <p:tav tm="0">
                                          <p:val>
                                            <p:strVal val="#ppt_x"/>
                                          </p:val>
                                        </p:tav>
                                        <p:tav tm="100000">
                                          <p:val>
                                            <p:strVal val="#ppt_x"/>
                                          </p:val>
                                        </p:tav>
                                      </p:tavLst>
                                    </p:anim>
                                    <p:anim calcmode="lin" valueType="num">
                                      <p:cBhvr>
                                        <p:cTn id="116" dur="500" fill="hold"/>
                                        <p:tgtEl>
                                          <p:spTgt spid="11"/>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49"/>
                                        </p:tgtEl>
                                        <p:attrNameLst>
                                          <p:attrName>style.visibility</p:attrName>
                                        </p:attrNameLst>
                                      </p:cBhvr>
                                      <p:to>
                                        <p:strVal val="visible"/>
                                      </p:to>
                                    </p:set>
                                    <p:animEffect transition="in" filter="fade">
                                      <p:cBhvr>
                                        <p:cTn id="119" dur="500"/>
                                        <p:tgtEl>
                                          <p:spTgt spid="49"/>
                                        </p:tgtEl>
                                      </p:cBhvr>
                                    </p:animEffect>
                                    <p:anim calcmode="lin" valueType="num">
                                      <p:cBhvr>
                                        <p:cTn id="120" dur="500" fill="hold"/>
                                        <p:tgtEl>
                                          <p:spTgt spid="49"/>
                                        </p:tgtEl>
                                        <p:attrNameLst>
                                          <p:attrName>ppt_x</p:attrName>
                                        </p:attrNameLst>
                                      </p:cBhvr>
                                      <p:tavLst>
                                        <p:tav tm="0">
                                          <p:val>
                                            <p:strVal val="#ppt_x"/>
                                          </p:val>
                                        </p:tav>
                                        <p:tav tm="100000">
                                          <p:val>
                                            <p:strVal val="#ppt_x"/>
                                          </p:val>
                                        </p:tav>
                                      </p:tavLst>
                                    </p:anim>
                                    <p:anim calcmode="lin" valueType="num">
                                      <p:cBhvr>
                                        <p:cTn id="121" dur="500" fill="hold"/>
                                        <p:tgtEl>
                                          <p:spTgt spid="49"/>
                                        </p:tgtEl>
                                        <p:attrNameLst>
                                          <p:attrName>ppt_y</p:attrName>
                                        </p:attrNameLst>
                                      </p:cBhvr>
                                      <p:tavLst>
                                        <p:tav tm="0">
                                          <p:val>
                                            <p:strVal val="#ppt_y+.1"/>
                                          </p:val>
                                        </p:tav>
                                        <p:tav tm="100000">
                                          <p:val>
                                            <p:strVal val="#ppt_y"/>
                                          </p:val>
                                        </p:tav>
                                      </p:tavLst>
                                    </p:anim>
                                  </p:childTnLst>
                                </p:cTn>
                              </p:par>
                            </p:childTnLst>
                          </p:cTn>
                        </p:par>
                        <p:par>
                          <p:cTn id="122" fill="hold">
                            <p:stCondLst>
                              <p:cond delay="5500"/>
                            </p:stCondLst>
                            <p:childTnLst>
                              <p:par>
                                <p:cTn id="123" presetID="42" presetClass="entr" presetSubtype="0" fill="hold" nodeType="afterEffect">
                                  <p:stCondLst>
                                    <p:cond delay="0"/>
                                  </p:stCondLst>
                                  <p:childTnLst>
                                    <p:set>
                                      <p:cBhvr>
                                        <p:cTn id="124" dur="1" fill="hold">
                                          <p:stCondLst>
                                            <p:cond delay="0"/>
                                          </p:stCondLst>
                                        </p:cTn>
                                        <p:tgtEl>
                                          <p:spTgt spid="20"/>
                                        </p:tgtEl>
                                        <p:attrNameLst>
                                          <p:attrName>style.visibility</p:attrName>
                                        </p:attrNameLst>
                                      </p:cBhvr>
                                      <p:to>
                                        <p:strVal val="visible"/>
                                      </p:to>
                                    </p:set>
                                    <p:animEffect transition="in" filter="fade">
                                      <p:cBhvr>
                                        <p:cTn id="125" dur="500"/>
                                        <p:tgtEl>
                                          <p:spTgt spid="20"/>
                                        </p:tgtEl>
                                      </p:cBhvr>
                                    </p:animEffect>
                                    <p:anim calcmode="lin" valueType="num">
                                      <p:cBhvr>
                                        <p:cTn id="126" dur="500" fill="hold"/>
                                        <p:tgtEl>
                                          <p:spTgt spid="20"/>
                                        </p:tgtEl>
                                        <p:attrNameLst>
                                          <p:attrName>ppt_x</p:attrName>
                                        </p:attrNameLst>
                                      </p:cBhvr>
                                      <p:tavLst>
                                        <p:tav tm="0">
                                          <p:val>
                                            <p:strVal val="#ppt_x"/>
                                          </p:val>
                                        </p:tav>
                                        <p:tav tm="100000">
                                          <p:val>
                                            <p:strVal val="#ppt_x"/>
                                          </p:val>
                                        </p:tav>
                                      </p:tavLst>
                                    </p:anim>
                                    <p:anim calcmode="lin" valueType="num">
                                      <p:cBhvr>
                                        <p:cTn id="127" dur="5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6" grpId="0" animBg="1"/>
      <p:bldP spid="88" grpId="0" animBg="1"/>
      <p:bldP spid="51" grpId="0" animBg="1"/>
      <p:bldP spid="89" grpId="0" animBg="1"/>
      <p:bldP spid="85" grpId="0" animBg="1"/>
      <p:bldP spid="84" grpId="0" animBg="1"/>
      <p:bldP spid="91" grpId="0" animBg="1"/>
      <p:bldP spid="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your Workbench JSON application configuration file</a:t>
            </a:r>
          </a:p>
        </p:txBody>
      </p:sp>
      <p:graphicFrame>
        <p:nvGraphicFramePr>
          <p:cNvPr id="3" name="Diagram 2">
            <a:extLst>
              <a:ext uri="{FF2B5EF4-FFF2-40B4-BE49-F238E27FC236}">
                <a16:creationId xmlns:a16="http://schemas.microsoft.com/office/drawing/2014/main" id="{6EDF83CD-1503-FC4E-BFDE-4E9A34FD3E5C}"/>
              </a:ext>
            </a:extLst>
          </p:cNvPr>
          <p:cNvGraphicFramePr/>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162424"/>
            <a:ext cx="11922761"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reate JSON configuration file that will contain the following application settings</a:t>
            </a:r>
          </a:p>
        </p:txBody>
      </p:sp>
      <p:sp>
        <p:nvSpPr>
          <p:cNvPr id="30" name="TextBox 29">
            <a:extLst>
              <a:ext uri="{FF2B5EF4-FFF2-40B4-BE49-F238E27FC236}">
                <a16:creationId xmlns:a16="http://schemas.microsoft.com/office/drawing/2014/main" id="{9EED75BB-3211-4620-87D9-6B5B725799B4}"/>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Use an existing JSON file to guide your implementation</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14390363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Extending Azure Blockchain Workbench, Architecture</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ea typeface="+mn-lt"/>
                <a:cs typeface="+mn-lt"/>
              </a:rPr>
              <a:t>Solutions to extend Azure Blockchain Workbench</a:t>
            </a:r>
            <a:endParaRPr lang="en-US" dirty="0"/>
          </a:p>
          <a:p>
            <a:r>
              <a:rPr lang="en-US" dirty="0">
                <a:ea typeface="+mn-lt"/>
                <a:cs typeface="+mn-lt"/>
              </a:rPr>
              <a:t>API/integration models</a:t>
            </a:r>
            <a:endParaRPr lang="en-US" dirty="0"/>
          </a:p>
          <a:p>
            <a:r>
              <a:rPr lang="en-US" dirty="0">
                <a:ea typeface="+mn-lt"/>
                <a:cs typeface="+mn-lt"/>
              </a:rPr>
              <a:t>GitHub repos, samples, and forums</a:t>
            </a:r>
            <a:endParaRPr lang="en-US" dirty="0" err="1">
              <a:cs typeface="Calibri"/>
            </a:endParaRPr>
          </a:p>
          <a:p>
            <a:r>
              <a:rPr lang="en-US" dirty="0">
                <a:ea typeface="+mn-lt"/>
                <a:cs typeface="+mn-lt"/>
              </a:rPr>
              <a:t>Open discussion on development, architecture, and platform questions</a:t>
            </a:r>
            <a:endParaRPr lang="en-US" dirty="0"/>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3551046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Closure</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ea typeface="+mn-lt"/>
                <a:cs typeface="+mn-lt"/>
              </a:rPr>
              <a:t>Thank you for joining this Blockchain App in a Day workshop!</a:t>
            </a:r>
            <a:endParaRPr lang="en-US" dirty="0">
              <a:cs typeface="Calibri"/>
            </a:endParaRPr>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1054904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Arrow Connector 26">
            <a:extLst>
              <a:ext uri="{FF2B5EF4-FFF2-40B4-BE49-F238E27FC236}">
                <a16:creationId xmlns:a16="http://schemas.microsoft.com/office/drawing/2014/main" id="{729A06E0-3510-47B0-AB3F-4C5B44C80F91}"/>
              </a:ext>
            </a:extLst>
          </p:cNvPr>
          <p:cNvCxnSpPr>
            <a:cxnSpLocks/>
          </p:cNvCxnSpPr>
          <p:nvPr/>
        </p:nvCxnSpPr>
        <p:spPr>
          <a:xfrm>
            <a:off x="1" y="3694071"/>
            <a:ext cx="11597496" cy="0"/>
          </a:xfrm>
          <a:prstGeom prst="straightConnector1">
            <a:avLst/>
          </a:prstGeom>
          <a:ln w="28575">
            <a:solidFill>
              <a:schemeClr val="accent1"/>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634DAF4-62A6-4C73-8CEC-BF8649B65908}"/>
              </a:ext>
            </a:extLst>
          </p:cNvPr>
          <p:cNvSpPr>
            <a:spLocks noGrp="1"/>
          </p:cNvSpPr>
          <p:nvPr>
            <p:ph type="title"/>
          </p:nvPr>
        </p:nvSpPr>
        <p:spPr/>
        <p:txBody>
          <a:bodyPr/>
          <a:lstStyle/>
          <a:p>
            <a:r>
              <a:rPr lang="en-US" sz="3600" dirty="0"/>
              <a:t>So we’ve taken steps to create a platform that would tackle those challenges</a:t>
            </a:r>
          </a:p>
        </p:txBody>
      </p:sp>
      <p:sp>
        <p:nvSpPr>
          <p:cNvPr id="32" name="TextBox 31">
            <a:extLst>
              <a:ext uri="{FF2B5EF4-FFF2-40B4-BE49-F238E27FC236}">
                <a16:creationId xmlns:a16="http://schemas.microsoft.com/office/drawing/2014/main" id="{79518A83-BAF3-4FB2-8659-2FBB7558005F}"/>
              </a:ext>
            </a:extLst>
          </p:cNvPr>
          <p:cNvSpPr txBox="1"/>
          <p:nvPr/>
        </p:nvSpPr>
        <p:spPr>
          <a:xfrm>
            <a:off x="1092911" y="4808054"/>
            <a:ext cx="2330601" cy="1292662"/>
          </a:xfrm>
          <a:prstGeom prst="rect">
            <a:avLst/>
          </a:prstGeom>
          <a:noFill/>
        </p:spPr>
        <p:txBody>
          <a:bodyPr wrap="square" lIns="0" tIns="0" rIns="0" bIns="0" rtlCol="0" anchor="ctr">
            <a:spAutoFit/>
          </a:bodyPr>
          <a:lstStyle/>
          <a:p>
            <a:pPr algn="ctr" defTabSz="914225">
              <a:spcAft>
                <a:spcPts val="600"/>
              </a:spcAft>
              <a:defRPr/>
            </a:pPr>
            <a:r>
              <a:rPr lang="en-US" sz="2800">
                <a:solidFill>
                  <a:srgbClr val="505050"/>
                </a:solidFill>
                <a:latin typeface="Segoe UI Semibold" panose="020B0702040204020203" pitchFamily="34" charset="0"/>
                <a:cs typeface="Segoe UI Semibold" panose="020B0702040204020203" pitchFamily="34" charset="0"/>
              </a:rPr>
              <a:t>Populated</a:t>
            </a:r>
            <a:r>
              <a:rPr lang="en-US" sz="2800">
                <a:solidFill>
                  <a:srgbClr val="002050"/>
                </a:solidFill>
                <a:latin typeface="Segoe UI Semibold" panose="020B0702040204020203" pitchFamily="34" charset="0"/>
                <a:cs typeface="Segoe UI Semibold" panose="020B0702040204020203" pitchFamily="34" charset="0"/>
              </a:rPr>
              <a:t> </a:t>
            </a:r>
            <a:r>
              <a:rPr lang="en-US" sz="2800">
                <a:solidFill>
                  <a:schemeClr val="accent1"/>
                </a:solidFill>
                <a:latin typeface="Segoe UI Semibold" panose="020B0702040204020203" pitchFamily="34" charset="0"/>
                <a:cs typeface="Segoe UI Semibold" panose="020B0702040204020203" pitchFamily="34" charset="0"/>
              </a:rPr>
              <a:t>preconfigured networks</a:t>
            </a:r>
          </a:p>
        </p:txBody>
      </p:sp>
      <p:sp>
        <p:nvSpPr>
          <p:cNvPr id="35" name="TextBox 34">
            <a:extLst>
              <a:ext uri="{FF2B5EF4-FFF2-40B4-BE49-F238E27FC236}">
                <a16:creationId xmlns:a16="http://schemas.microsoft.com/office/drawing/2014/main" id="{AF438DEB-41B4-4D89-80E6-3993692EB26A}"/>
              </a:ext>
            </a:extLst>
          </p:cNvPr>
          <p:cNvSpPr txBox="1"/>
          <p:nvPr/>
        </p:nvSpPr>
        <p:spPr>
          <a:xfrm>
            <a:off x="4624513" y="4808054"/>
            <a:ext cx="2472955" cy="1292662"/>
          </a:xfrm>
          <a:prstGeom prst="rect">
            <a:avLst/>
          </a:prstGeom>
          <a:noFill/>
        </p:spPr>
        <p:txBody>
          <a:bodyPr wrap="square" lIns="0" tIns="0" rIns="0" bIns="0" rtlCol="0" anchor="ctr">
            <a:spAutoFit/>
          </a:bodyPr>
          <a:lstStyle/>
          <a:p>
            <a:pPr algn="ctr" defTabSz="914225">
              <a:spcAft>
                <a:spcPts val="600"/>
              </a:spcAft>
              <a:defRPr/>
            </a:pPr>
            <a:r>
              <a:rPr lang="en-US" sz="2800">
                <a:solidFill>
                  <a:schemeClr val="accent1"/>
                </a:solidFill>
                <a:latin typeface="Segoe UI Semibold" panose="020B0702040204020203" pitchFamily="34" charset="0"/>
                <a:cs typeface="Segoe UI Semibold" panose="020B0702040204020203" pitchFamily="34" charset="0"/>
              </a:rPr>
              <a:t>Integrated relevant cloud services</a:t>
            </a:r>
          </a:p>
        </p:txBody>
      </p:sp>
      <p:sp>
        <p:nvSpPr>
          <p:cNvPr id="38" name="TextBox 37">
            <a:extLst>
              <a:ext uri="{FF2B5EF4-FFF2-40B4-BE49-F238E27FC236}">
                <a16:creationId xmlns:a16="http://schemas.microsoft.com/office/drawing/2014/main" id="{AB7E6A1F-584F-4047-BB99-F45F5D095D61}"/>
              </a:ext>
            </a:extLst>
          </p:cNvPr>
          <p:cNvSpPr txBox="1"/>
          <p:nvPr/>
        </p:nvSpPr>
        <p:spPr>
          <a:xfrm>
            <a:off x="8514045" y="4808054"/>
            <a:ext cx="2049012" cy="1292662"/>
          </a:xfrm>
          <a:prstGeom prst="rect">
            <a:avLst/>
          </a:prstGeom>
          <a:noFill/>
        </p:spPr>
        <p:txBody>
          <a:bodyPr wrap="square" lIns="0" tIns="0" rIns="0" bIns="0" rtlCol="0" anchor="ctr">
            <a:spAutoFit/>
          </a:bodyPr>
          <a:lstStyle/>
          <a:p>
            <a:pPr algn="ctr" defTabSz="914225">
              <a:spcAft>
                <a:spcPts val="600"/>
              </a:spcAft>
              <a:defRPr/>
            </a:pPr>
            <a:r>
              <a:rPr lang="en-US" sz="2800">
                <a:solidFill>
                  <a:schemeClr val="accent1"/>
                </a:solidFill>
                <a:latin typeface="Segoe UI Semibold" panose="020B0702040204020203" pitchFamily="34" charset="0"/>
                <a:cs typeface="Segoe UI Semibold" panose="020B0702040204020203" pitchFamily="34" charset="0"/>
              </a:rPr>
              <a:t>Built a simple interface</a:t>
            </a:r>
          </a:p>
        </p:txBody>
      </p:sp>
      <p:grpSp>
        <p:nvGrpSpPr>
          <p:cNvPr id="3" name="Group 2">
            <a:extLst>
              <a:ext uri="{FF2B5EF4-FFF2-40B4-BE49-F238E27FC236}">
                <a16:creationId xmlns:a16="http://schemas.microsoft.com/office/drawing/2014/main" id="{8BDAA0CF-6F2C-4BF2-B284-7320ADA28BF3}"/>
              </a:ext>
            </a:extLst>
          </p:cNvPr>
          <p:cNvGrpSpPr/>
          <p:nvPr/>
        </p:nvGrpSpPr>
        <p:grpSpPr>
          <a:xfrm>
            <a:off x="1426463" y="2835929"/>
            <a:ext cx="1577663" cy="1577663"/>
            <a:chOff x="1455066" y="2892299"/>
            <a:chExt cx="1609298" cy="1609298"/>
          </a:xfrm>
        </p:grpSpPr>
        <p:sp>
          <p:nvSpPr>
            <p:cNvPr id="91" name="Oval 90">
              <a:extLst>
                <a:ext uri="{FF2B5EF4-FFF2-40B4-BE49-F238E27FC236}">
                  <a16:creationId xmlns:a16="http://schemas.microsoft.com/office/drawing/2014/main" id="{BB5FB321-A227-470E-A2D8-BEAA39699738}"/>
                </a:ext>
              </a:extLst>
            </p:cNvPr>
            <p:cNvSpPr/>
            <p:nvPr/>
          </p:nvSpPr>
          <p:spPr bwMode="auto">
            <a:xfrm>
              <a:off x="1455066"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4400" err="1">
                <a:solidFill>
                  <a:schemeClr val="bg1"/>
                </a:solidFill>
                <a:latin typeface="+mj-lt"/>
                <a:ea typeface="Segoe UI" pitchFamily="34" charset="0"/>
                <a:cs typeface="Segoe UI" pitchFamily="34" charset="0"/>
              </a:endParaRPr>
            </a:p>
          </p:txBody>
        </p:sp>
        <p:sp>
          <p:nvSpPr>
            <p:cNvPr id="94" name="Hexagon 93">
              <a:extLst>
                <a:ext uri="{FF2B5EF4-FFF2-40B4-BE49-F238E27FC236}">
                  <a16:creationId xmlns:a16="http://schemas.microsoft.com/office/drawing/2014/main" id="{DA39DD85-693E-4588-A7ED-B442D2FD11CF}"/>
                </a:ext>
              </a:extLst>
            </p:cNvPr>
            <p:cNvSpPr/>
            <p:nvPr/>
          </p:nvSpPr>
          <p:spPr bwMode="auto">
            <a:xfrm>
              <a:off x="1595148" y="3163126"/>
              <a:ext cx="1371600" cy="1209041"/>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4400">
                  <a:solidFill>
                    <a:schemeClr val="bg1"/>
                  </a:solidFill>
                  <a:latin typeface="+mj-lt"/>
                  <a:ea typeface="Segoe UI" pitchFamily="34" charset="0"/>
                  <a:cs typeface="Segoe UI Semibold" panose="020B0702040204020203" pitchFamily="34" charset="0"/>
                </a:rPr>
                <a:t>1</a:t>
              </a:r>
            </a:p>
          </p:txBody>
        </p:sp>
      </p:grpSp>
      <p:grpSp>
        <p:nvGrpSpPr>
          <p:cNvPr id="4" name="Group 3">
            <a:extLst>
              <a:ext uri="{FF2B5EF4-FFF2-40B4-BE49-F238E27FC236}">
                <a16:creationId xmlns:a16="http://schemas.microsoft.com/office/drawing/2014/main" id="{7EB6E66A-1117-47C4-96E8-A6A60B2CB143}"/>
              </a:ext>
            </a:extLst>
          </p:cNvPr>
          <p:cNvGrpSpPr/>
          <p:nvPr/>
        </p:nvGrpSpPr>
        <p:grpSpPr>
          <a:xfrm>
            <a:off x="4995581" y="2835929"/>
            <a:ext cx="1577663" cy="1577663"/>
            <a:chOff x="5095753" y="2892299"/>
            <a:chExt cx="1609298" cy="1609298"/>
          </a:xfrm>
        </p:grpSpPr>
        <p:sp>
          <p:nvSpPr>
            <p:cNvPr id="55" name="Oval 54">
              <a:extLst>
                <a:ext uri="{FF2B5EF4-FFF2-40B4-BE49-F238E27FC236}">
                  <a16:creationId xmlns:a16="http://schemas.microsoft.com/office/drawing/2014/main" id="{429B41C5-4083-4222-AA17-B5C2768B24FD}"/>
                </a:ext>
              </a:extLst>
            </p:cNvPr>
            <p:cNvSpPr/>
            <p:nvPr/>
          </p:nvSpPr>
          <p:spPr bwMode="auto">
            <a:xfrm>
              <a:off x="5095753"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4400" err="1">
                <a:solidFill>
                  <a:schemeClr val="bg1"/>
                </a:solidFill>
                <a:latin typeface="+mj-lt"/>
                <a:ea typeface="Segoe UI" pitchFamily="34" charset="0"/>
                <a:cs typeface="Segoe UI" pitchFamily="34" charset="0"/>
              </a:endParaRPr>
            </a:p>
          </p:txBody>
        </p:sp>
        <p:sp>
          <p:nvSpPr>
            <p:cNvPr id="112" name="Hexagon 111">
              <a:extLst>
                <a:ext uri="{FF2B5EF4-FFF2-40B4-BE49-F238E27FC236}">
                  <a16:creationId xmlns:a16="http://schemas.microsoft.com/office/drawing/2014/main" id="{3E263EAE-ABE8-435B-B22F-DEEDBF1647A9}"/>
                </a:ext>
              </a:extLst>
            </p:cNvPr>
            <p:cNvSpPr/>
            <p:nvPr/>
          </p:nvSpPr>
          <p:spPr bwMode="auto">
            <a:xfrm>
              <a:off x="5204511" y="3163126"/>
              <a:ext cx="1371600" cy="1209041"/>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4400">
                  <a:solidFill>
                    <a:schemeClr val="bg1"/>
                  </a:solidFill>
                  <a:latin typeface="+mj-lt"/>
                  <a:ea typeface="Segoe UI" pitchFamily="34" charset="0"/>
                  <a:cs typeface="Segoe UI Semibold" panose="020B0702040204020203" pitchFamily="34" charset="0"/>
                </a:rPr>
                <a:t>2</a:t>
              </a:r>
            </a:p>
          </p:txBody>
        </p:sp>
      </p:grpSp>
      <p:grpSp>
        <p:nvGrpSpPr>
          <p:cNvPr id="5" name="Group 4">
            <a:extLst>
              <a:ext uri="{FF2B5EF4-FFF2-40B4-BE49-F238E27FC236}">
                <a16:creationId xmlns:a16="http://schemas.microsoft.com/office/drawing/2014/main" id="{6A791587-2C34-45EB-BC7B-A6FBEFDD5E9E}"/>
              </a:ext>
            </a:extLst>
          </p:cNvPr>
          <p:cNvGrpSpPr/>
          <p:nvPr/>
        </p:nvGrpSpPr>
        <p:grpSpPr>
          <a:xfrm>
            <a:off x="8747306" y="2835929"/>
            <a:ext cx="1577663" cy="1577663"/>
            <a:chOff x="8922707" y="2892299"/>
            <a:chExt cx="1609298" cy="1609298"/>
          </a:xfrm>
        </p:grpSpPr>
        <p:sp>
          <p:nvSpPr>
            <p:cNvPr id="56" name="Oval 55">
              <a:extLst>
                <a:ext uri="{FF2B5EF4-FFF2-40B4-BE49-F238E27FC236}">
                  <a16:creationId xmlns:a16="http://schemas.microsoft.com/office/drawing/2014/main" id="{A0B5F7CB-1B9F-48EB-8D65-D0D716FD278C}"/>
                </a:ext>
              </a:extLst>
            </p:cNvPr>
            <p:cNvSpPr/>
            <p:nvPr/>
          </p:nvSpPr>
          <p:spPr bwMode="auto">
            <a:xfrm>
              <a:off x="8922707"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4400" err="1">
                <a:solidFill>
                  <a:schemeClr val="bg1"/>
                </a:solidFill>
                <a:latin typeface="+mj-lt"/>
                <a:ea typeface="Segoe UI" pitchFamily="34" charset="0"/>
                <a:cs typeface="Segoe UI" pitchFamily="34" charset="0"/>
              </a:endParaRPr>
            </a:p>
          </p:txBody>
        </p:sp>
        <p:sp>
          <p:nvSpPr>
            <p:cNvPr id="117" name="Hexagon 116">
              <a:extLst>
                <a:ext uri="{FF2B5EF4-FFF2-40B4-BE49-F238E27FC236}">
                  <a16:creationId xmlns:a16="http://schemas.microsoft.com/office/drawing/2014/main" id="{35543949-2A6F-40FD-8797-294D9E1AD9BA}"/>
                </a:ext>
              </a:extLst>
            </p:cNvPr>
            <p:cNvSpPr/>
            <p:nvPr/>
          </p:nvSpPr>
          <p:spPr bwMode="auto">
            <a:xfrm>
              <a:off x="9035285" y="3163126"/>
              <a:ext cx="1371600" cy="1209041"/>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4400">
                  <a:solidFill>
                    <a:schemeClr val="bg1"/>
                  </a:solidFill>
                  <a:latin typeface="+mj-lt"/>
                  <a:ea typeface="Segoe UI" pitchFamily="34" charset="0"/>
                  <a:cs typeface="Segoe UI Semibold" panose="020B0702040204020203" pitchFamily="34" charset="0"/>
                </a:rPr>
                <a:t>3</a:t>
              </a:r>
            </a:p>
          </p:txBody>
        </p:sp>
      </p:grpSp>
      <p:grpSp>
        <p:nvGrpSpPr>
          <p:cNvPr id="11" name="Group 10">
            <a:extLst>
              <a:ext uri="{FF2B5EF4-FFF2-40B4-BE49-F238E27FC236}">
                <a16:creationId xmlns:a16="http://schemas.microsoft.com/office/drawing/2014/main" id="{0DE83627-0646-4755-B884-8E95161C28E0}"/>
              </a:ext>
            </a:extLst>
          </p:cNvPr>
          <p:cNvGrpSpPr/>
          <p:nvPr/>
        </p:nvGrpSpPr>
        <p:grpSpPr>
          <a:xfrm>
            <a:off x="1718433" y="3888848"/>
            <a:ext cx="496485" cy="753878"/>
            <a:chOff x="1429192" y="4173974"/>
            <a:chExt cx="506441" cy="768995"/>
          </a:xfrm>
        </p:grpSpPr>
        <p:sp>
          <p:nvSpPr>
            <p:cNvPr id="106" name="Hexagon 105">
              <a:extLst>
                <a:ext uri="{FF2B5EF4-FFF2-40B4-BE49-F238E27FC236}">
                  <a16:creationId xmlns:a16="http://schemas.microsoft.com/office/drawing/2014/main" id="{EDD86A32-0444-4358-A5CC-E853E992B91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DFA97C8C-5454-4F68-B03B-5968C757327A}"/>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0" name="Group 39">
            <a:extLst>
              <a:ext uri="{FF2B5EF4-FFF2-40B4-BE49-F238E27FC236}">
                <a16:creationId xmlns:a16="http://schemas.microsoft.com/office/drawing/2014/main" id="{09F4A51C-731F-47C8-9127-126A1248D62C}"/>
              </a:ext>
            </a:extLst>
          </p:cNvPr>
          <p:cNvGrpSpPr/>
          <p:nvPr/>
        </p:nvGrpSpPr>
        <p:grpSpPr>
          <a:xfrm>
            <a:off x="5281438" y="3888848"/>
            <a:ext cx="496485" cy="753878"/>
            <a:chOff x="1429192" y="4173974"/>
            <a:chExt cx="506441" cy="768995"/>
          </a:xfrm>
        </p:grpSpPr>
        <p:sp>
          <p:nvSpPr>
            <p:cNvPr id="45" name="Hexagon 105">
              <a:extLst>
                <a:ext uri="{FF2B5EF4-FFF2-40B4-BE49-F238E27FC236}">
                  <a16:creationId xmlns:a16="http://schemas.microsoft.com/office/drawing/2014/main" id="{95FE2CF7-7B72-4319-9234-52020CAAB2F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BCE4889-0B3A-4EE5-818E-5DE31CABCCD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8" name="Group 47">
            <a:extLst>
              <a:ext uri="{FF2B5EF4-FFF2-40B4-BE49-F238E27FC236}">
                <a16:creationId xmlns:a16="http://schemas.microsoft.com/office/drawing/2014/main" id="{3B3285CE-F94E-4E1F-AFB5-504AFB616D62}"/>
              </a:ext>
            </a:extLst>
          </p:cNvPr>
          <p:cNvGrpSpPr/>
          <p:nvPr/>
        </p:nvGrpSpPr>
        <p:grpSpPr>
          <a:xfrm>
            <a:off x="9039652" y="3888848"/>
            <a:ext cx="496485" cy="753878"/>
            <a:chOff x="1429192" y="4173974"/>
            <a:chExt cx="506441" cy="768995"/>
          </a:xfrm>
        </p:grpSpPr>
        <p:sp>
          <p:nvSpPr>
            <p:cNvPr id="53" name="Hexagon 105">
              <a:extLst>
                <a:ext uri="{FF2B5EF4-FFF2-40B4-BE49-F238E27FC236}">
                  <a16:creationId xmlns:a16="http://schemas.microsoft.com/office/drawing/2014/main" id="{C1E80511-E373-4793-84D8-5CCFB1DD3145}"/>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DE7A0DDC-CEF2-4125-9299-9C66EE5D453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340032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6E2F525A-76B4-4D4D-9DFD-B5D1977179A5}"/>
              </a:ext>
            </a:extLst>
          </p:cNvPr>
          <p:cNvSpPr/>
          <p:nvPr/>
        </p:nvSpPr>
        <p:spPr bwMode="auto">
          <a:xfrm>
            <a:off x="9710950" y="2494968"/>
            <a:ext cx="1551646" cy="27054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Rectangle 90">
            <a:extLst>
              <a:ext uri="{FF2B5EF4-FFF2-40B4-BE49-F238E27FC236}">
                <a16:creationId xmlns:a16="http://schemas.microsoft.com/office/drawing/2014/main" id="{B93C5560-31D8-4565-A051-5FE96EF378F9}"/>
              </a:ext>
            </a:extLst>
          </p:cNvPr>
          <p:cNvSpPr/>
          <p:nvPr/>
        </p:nvSpPr>
        <p:spPr bwMode="auto">
          <a:xfrm>
            <a:off x="7959028" y="2494968"/>
            <a:ext cx="1551646" cy="27054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2" name="Rectangle 90">
            <a:extLst>
              <a:ext uri="{FF2B5EF4-FFF2-40B4-BE49-F238E27FC236}">
                <a16:creationId xmlns:a16="http://schemas.microsoft.com/office/drawing/2014/main" id="{53D43A5B-A049-4EB7-A2F9-FFB4BBC4D1F9}"/>
              </a:ext>
            </a:extLst>
          </p:cNvPr>
          <p:cNvSpPr/>
          <p:nvPr/>
        </p:nvSpPr>
        <p:spPr bwMode="auto">
          <a:xfrm>
            <a:off x="6207106" y="2494968"/>
            <a:ext cx="1551646" cy="27054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90">
            <a:extLst>
              <a:ext uri="{FF2B5EF4-FFF2-40B4-BE49-F238E27FC236}">
                <a16:creationId xmlns:a16="http://schemas.microsoft.com/office/drawing/2014/main" id="{D9E8F71E-4644-4816-9393-5092DEC62CC7}"/>
              </a:ext>
            </a:extLst>
          </p:cNvPr>
          <p:cNvSpPr/>
          <p:nvPr/>
        </p:nvSpPr>
        <p:spPr bwMode="auto">
          <a:xfrm>
            <a:off x="4455185" y="2494968"/>
            <a:ext cx="1551646" cy="27054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Rectangle 90">
            <a:extLst>
              <a:ext uri="{FF2B5EF4-FFF2-40B4-BE49-F238E27FC236}">
                <a16:creationId xmlns:a16="http://schemas.microsoft.com/office/drawing/2014/main" id="{83F2B1F1-1F0A-4673-A5C8-DBED2B5AD277}"/>
              </a:ext>
            </a:extLst>
          </p:cNvPr>
          <p:cNvSpPr/>
          <p:nvPr/>
        </p:nvSpPr>
        <p:spPr bwMode="auto">
          <a:xfrm>
            <a:off x="2703263" y="2494968"/>
            <a:ext cx="1551646" cy="270544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Rectangle 90">
            <a:extLst>
              <a:ext uri="{FF2B5EF4-FFF2-40B4-BE49-F238E27FC236}">
                <a16:creationId xmlns:a16="http://schemas.microsoft.com/office/drawing/2014/main" id="{792BDE2B-9A3C-49DD-9A77-AE47C2DC45C7}"/>
              </a:ext>
            </a:extLst>
          </p:cNvPr>
          <p:cNvSpPr/>
          <p:nvPr/>
        </p:nvSpPr>
        <p:spPr bwMode="auto">
          <a:xfrm>
            <a:off x="951340" y="2494968"/>
            <a:ext cx="1551646" cy="27054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DD4FBB37-5DFC-4ECA-9C75-6CA4D006B4F7}"/>
              </a:ext>
            </a:extLst>
          </p:cNvPr>
          <p:cNvSpPr>
            <a:spLocks noGrp="1"/>
          </p:cNvSpPr>
          <p:nvPr>
            <p:ph type="title"/>
          </p:nvPr>
        </p:nvSpPr>
        <p:spPr/>
        <p:txBody>
          <a:bodyPr/>
          <a:lstStyle/>
          <a:p>
            <a:pPr algn="l"/>
            <a:r>
              <a:rPr lang="en-US" dirty="0"/>
              <a:t>We’ve seen this pattern in scenarios across industries</a:t>
            </a:r>
          </a:p>
        </p:txBody>
      </p:sp>
      <p:sp>
        <p:nvSpPr>
          <p:cNvPr id="114" name="Rectangle 113">
            <a:extLst>
              <a:ext uri="{FF2B5EF4-FFF2-40B4-BE49-F238E27FC236}">
                <a16:creationId xmlns:a16="http://schemas.microsoft.com/office/drawing/2014/main" id="{707F08B9-B1D5-4220-A3FC-2D9CEE047992}"/>
              </a:ext>
            </a:extLst>
          </p:cNvPr>
          <p:cNvSpPr/>
          <p:nvPr/>
        </p:nvSpPr>
        <p:spPr bwMode="auto">
          <a:xfrm>
            <a:off x="1126923" y="1779649"/>
            <a:ext cx="1200480" cy="21114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115" name="Rectangle 114">
            <a:extLst>
              <a:ext uri="{FF2B5EF4-FFF2-40B4-BE49-F238E27FC236}">
                <a16:creationId xmlns:a16="http://schemas.microsoft.com/office/drawing/2014/main" id="{3AC0FD0D-EAEA-479E-B4BA-C6C56121BF16}"/>
              </a:ext>
            </a:extLst>
          </p:cNvPr>
          <p:cNvSpPr/>
          <p:nvPr/>
        </p:nvSpPr>
        <p:spPr bwMode="auto">
          <a:xfrm>
            <a:off x="951341" y="2881130"/>
            <a:ext cx="1537368" cy="143401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Asset track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Real-time auction for supplier contracts</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Supply chain transparency</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Dynamic commodities pricing</a:t>
            </a:r>
          </a:p>
        </p:txBody>
      </p:sp>
      <p:sp>
        <p:nvSpPr>
          <p:cNvPr id="76" name="Rectangle 75">
            <a:extLst>
              <a:ext uri="{FF2B5EF4-FFF2-40B4-BE49-F238E27FC236}">
                <a16:creationId xmlns:a16="http://schemas.microsoft.com/office/drawing/2014/main" id="{6B370E0B-DC1C-4CBD-A852-7A22D3A872FC}"/>
              </a:ext>
            </a:extLst>
          </p:cNvPr>
          <p:cNvSpPr/>
          <p:nvPr/>
        </p:nvSpPr>
        <p:spPr bwMode="auto">
          <a:xfrm>
            <a:off x="10219111" y="1779649"/>
            <a:ext cx="535327" cy="21114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78" name="Rectangle 77">
            <a:extLst>
              <a:ext uri="{FF2B5EF4-FFF2-40B4-BE49-F238E27FC236}">
                <a16:creationId xmlns:a16="http://schemas.microsoft.com/office/drawing/2014/main" id="{C32BFC48-BE91-45EA-B1B6-9AA26F35FBF5}"/>
              </a:ext>
            </a:extLst>
          </p:cNvPr>
          <p:cNvSpPr/>
          <p:nvPr/>
        </p:nvSpPr>
        <p:spPr bwMode="auto">
          <a:xfrm>
            <a:off x="9710951" y="2881130"/>
            <a:ext cx="1537368" cy="10539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Personalized medicine</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Records shar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Compliance</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Pharmaceutical provenance</a:t>
            </a:r>
          </a:p>
        </p:txBody>
      </p:sp>
      <p:sp>
        <p:nvSpPr>
          <p:cNvPr id="108" name="Rectangle 107">
            <a:extLst>
              <a:ext uri="{FF2B5EF4-FFF2-40B4-BE49-F238E27FC236}">
                <a16:creationId xmlns:a16="http://schemas.microsoft.com/office/drawing/2014/main" id="{84010235-DF6D-4009-9CC5-3F573299DA36}"/>
              </a:ext>
            </a:extLst>
          </p:cNvPr>
          <p:cNvSpPr/>
          <p:nvPr/>
        </p:nvSpPr>
        <p:spPr bwMode="auto">
          <a:xfrm>
            <a:off x="3249890" y="1779649"/>
            <a:ext cx="458394" cy="21114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109" name="Rectangle 108">
            <a:extLst>
              <a:ext uri="{FF2B5EF4-FFF2-40B4-BE49-F238E27FC236}">
                <a16:creationId xmlns:a16="http://schemas.microsoft.com/office/drawing/2014/main" id="{46378914-F334-42E4-9162-54C82FFC1416}"/>
              </a:ext>
            </a:extLst>
          </p:cNvPr>
          <p:cNvSpPr/>
          <p:nvPr/>
        </p:nvSpPr>
        <p:spPr bwMode="auto">
          <a:xfrm>
            <a:off x="2717540" y="2881131"/>
            <a:ext cx="1537368" cy="128109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Loyalty track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Product provenance</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Logistics management</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Digital rewards</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P2P sell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Ticket purchases</a:t>
            </a:r>
          </a:p>
        </p:txBody>
      </p:sp>
      <p:sp>
        <p:nvSpPr>
          <p:cNvPr id="101" name="Rectangle 100">
            <a:extLst>
              <a:ext uri="{FF2B5EF4-FFF2-40B4-BE49-F238E27FC236}">
                <a16:creationId xmlns:a16="http://schemas.microsoft.com/office/drawing/2014/main" id="{6AF9EBF5-7F42-4359-98C4-2DAC2B4A67FC}"/>
              </a:ext>
            </a:extLst>
          </p:cNvPr>
          <p:cNvSpPr/>
          <p:nvPr/>
        </p:nvSpPr>
        <p:spPr bwMode="auto">
          <a:xfrm>
            <a:off x="4839932" y="1779649"/>
            <a:ext cx="782154" cy="21114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102" name="Rectangle 101">
            <a:extLst>
              <a:ext uri="{FF2B5EF4-FFF2-40B4-BE49-F238E27FC236}">
                <a16:creationId xmlns:a16="http://schemas.microsoft.com/office/drawing/2014/main" id="{6B25394B-86FA-4CD3-BD0B-D8740FE8764C}"/>
              </a:ext>
            </a:extLst>
          </p:cNvPr>
          <p:cNvSpPr/>
          <p:nvPr/>
        </p:nvSpPr>
        <p:spPr bwMode="auto">
          <a:xfrm>
            <a:off x="4469463" y="2881130"/>
            <a:ext cx="1537368" cy="1636595"/>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Claims management</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MBS/Property payments</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Fraud detection</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Automated underwriting</a:t>
            </a:r>
          </a:p>
        </p:txBody>
      </p:sp>
      <p:sp>
        <p:nvSpPr>
          <p:cNvPr id="98" name="Rectangle 97">
            <a:extLst>
              <a:ext uri="{FF2B5EF4-FFF2-40B4-BE49-F238E27FC236}">
                <a16:creationId xmlns:a16="http://schemas.microsoft.com/office/drawing/2014/main" id="{C5A716C0-B0CE-445E-A4B8-24ABCF25153F}"/>
              </a:ext>
            </a:extLst>
          </p:cNvPr>
          <p:cNvSpPr/>
          <p:nvPr/>
        </p:nvSpPr>
        <p:spPr bwMode="auto">
          <a:xfrm>
            <a:off x="6348230" y="1568503"/>
            <a:ext cx="1269398" cy="422295"/>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a:t>
            </a:r>
            <a:b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b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Capital Markets</a:t>
            </a:r>
          </a:p>
        </p:txBody>
      </p:sp>
      <p:sp>
        <p:nvSpPr>
          <p:cNvPr id="99" name="Rectangle 98">
            <a:extLst>
              <a:ext uri="{FF2B5EF4-FFF2-40B4-BE49-F238E27FC236}">
                <a16:creationId xmlns:a16="http://schemas.microsoft.com/office/drawing/2014/main" id="{CC023E33-5671-417C-A137-83FE384218EE}"/>
              </a:ext>
            </a:extLst>
          </p:cNvPr>
          <p:cNvSpPr/>
          <p:nvPr/>
        </p:nvSpPr>
        <p:spPr bwMode="auto">
          <a:xfrm>
            <a:off x="6221385" y="2881130"/>
            <a:ext cx="1537368" cy="210705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Audit compliance</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Bond issuance</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Trade finance</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Loan syndication</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Post trade settlement</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Global payments</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Derivatives trading</a:t>
            </a:r>
          </a:p>
          <a:p>
            <a:pPr algn="ctr" defTabSz="950845" fontAlgn="base">
              <a:spcBef>
                <a:spcPct val="0"/>
              </a:spcBef>
              <a:spcAft>
                <a:spcPts val="612"/>
              </a:spcAft>
              <a:defRPr/>
            </a:pPr>
            <a:r>
              <a:rPr lang="en-US" sz="1176" dirty="0">
                <a:solidFill>
                  <a:srgbClr val="353535"/>
                </a:solidFill>
                <a:latin typeface="Segoe UI" panose="020B0502040204020203" pitchFamily="34" charset="0"/>
                <a:ea typeface="Segoe UI" panose="020B0502040204020203" pitchFamily="34" charset="0"/>
                <a:cs typeface="Segoe UI" panose="020B0502040204020203" pitchFamily="34" charset="0"/>
              </a:rPr>
              <a:t>KYC/AML</a:t>
            </a:r>
          </a:p>
        </p:txBody>
      </p:sp>
      <p:sp>
        <p:nvSpPr>
          <p:cNvPr id="80" name="Rectangle 79">
            <a:extLst>
              <a:ext uri="{FF2B5EF4-FFF2-40B4-BE49-F238E27FC236}">
                <a16:creationId xmlns:a16="http://schemas.microsoft.com/office/drawing/2014/main" id="{581D1875-FA96-45AC-8E32-A849DC98C04A}"/>
              </a:ext>
            </a:extLst>
          </p:cNvPr>
          <p:cNvSpPr/>
          <p:nvPr/>
        </p:nvSpPr>
        <p:spPr bwMode="auto">
          <a:xfrm>
            <a:off x="8228374" y="1779649"/>
            <a:ext cx="1012954" cy="21114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sz="1372" kern="0"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96" name="Rectangle 95">
            <a:extLst>
              <a:ext uri="{FF2B5EF4-FFF2-40B4-BE49-F238E27FC236}">
                <a16:creationId xmlns:a16="http://schemas.microsoft.com/office/drawing/2014/main" id="{557FDA05-E7B5-4C3E-A991-98C76F781976}"/>
              </a:ext>
            </a:extLst>
          </p:cNvPr>
          <p:cNvSpPr/>
          <p:nvPr/>
        </p:nvSpPr>
        <p:spPr bwMode="auto">
          <a:xfrm>
            <a:off x="7959028" y="2881131"/>
            <a:ext cx="1537368" cy="128109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Licensing and ID</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Land registry</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Benefits distribution</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Aid track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Military security</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Voting</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Copyrights</a:t>
            </a:r>
          </a:p>
          <a:p>
            <a:pPr algn="ctr" defTabSz="950845" fontAlgn="base">
              <a:spcBef>
                <a:spcPct val="0"/>
              </a:spcBef>
              <a:spcAft>
                <a:spcPts val="612"/>
              </a:spcAft>
              <a:defRPr/>
            </a:pPr>
            <a:r>
              <a:rPr lang="en-US" sz="1176" kern="0" dirty="0">
                <a:solidFill>
                  <a:srgbClr val="353535"/>
                </a:solidFill>
                <a:latin typeface="Segoe UI" panose="020B0502040204020203" pitchFamily="34" charset="0"/>
                <a:cs typeface="Segoe UI" panose="020B0502040204020203" pitchFamily="34" charset="0"/>
              </a:rPr>
              <a:t>Justice system administration</a:t>
            </a:r>
          </a:p>
          <a:p>
            <a:pPr algn="ctr" defTabSz="932293" fontAlgn="base">
              <a:spcBef>
                <a:spcPct val="0"/>
              </a:spcBef>
              <a:spcAft>
                <a:spcPts val="600"/>
              </a:spcAft>
              <a:defRPr/>
            </a:pPr>
            <a:r>
              <a:rPr lang="en-US" sz="1176" kern="0" dirty="0">
                <a:solidFill>
                  <a:srgbClr val="353535"/>
                </a:solidFill>
                <a:latin typeface="Segoe UI" panose="020B0502040204020203" pitchFamily="34" charset="0"/>
                <a:cs typeface="Segoe UI" panose="020B0502040204020203" pitchFamily="34" charset="0"/>
              </a:rPr>
              <a:t> </a:t>
            </a:r>
          </a:p>
        </p:txBody>
      </p:sp>
      <p:grpSp>
        <p:nvGrpSpPr>
          <p:cNvPr id="12" name="Group 11">
            <a:extLst>
              <a:ext uri="{FF2B5EF4-FFF2-40B4-BE49-F238E27FC236}">
                <a16:creationId xmlns:a16="http://schemas.microsoft.com/office/drawing/2014/main" id="{8A5F866B-720C-48D5-A366-F903F2D252A7}"/>
              </a:ext>
            </a:extLst>
          </p:cNvPr>
          <p:cNvGrpSpPr/>
          <p:nvPr/>
        </p:nvGrpSpPr>
        <p:grpSpPr>
          <a:xfrm>
            <a:off x="1426831" y="2105218"/>
            <a:ext cx="600666" cy="696773"/>
            <a:chOff x="1426168" y="1735859"/>
            <a:chExt cx="600752" cy="696872"/>
          </a:xfrm>
        </p:grpSpPr>
        <p:sp>
          <p:nvSpPr>
            <p:cNvPr id="11" name="Hexagon 10">
              <a:extLst>
                <a:ext uri="{FF2B5EF4-FFF2-40B4-BE49-F238E27FC236}">
                  <a16:creationId xmlns:a16="http://schemas.microsoft.com/office/drawing/2014/main" id="{270AE383-0A95-4A96-9CD1-71C5A9CC44DF}"/>
                </a:ext>
              </a:extLst>
            </p:cNvPr>
            <p:cNvSpPr/>
            <p:nvPr/>
          </p:nvSpPr>
          <p:spPr bwMode="auto">
            <a:xfrm rot="5400000">
              <a:off x="1378108" y="1783919"/>
              <a:ext cx="696872" cy="600752"/>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Freeform 64">
              <a:extLst>
                <a:ext uri="{FF2B5EF4-FFF2-40B4-BE49-F238E27FC236}">
                  <a16:creationId xmlns:a16="http://schemas.microsoft.com/office/drawing/2014/main" id="{D993027F-3BDF-47BF-A18A-4CCF6547CAD2}"/>
                </a:ext>
              </a:extLst>
            </p:cNvPr>
            <p:cNvSpPr>
              <a:spLocks/>
            </p:cNvSpPr>
            <p:nvPr/>
          </p:nvSpPr>
          <p:spPr bwMode="auto">
            <a:xfrm>
              <a:off x="1543664" y="1901414"/>
              <a:ext cx="365760" cy="365760"/>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noAutofit/>
            </a:bodyPr>
            <a:lstStyle/>
            <a:p>
              <a:pPr defTabSz="914225">
                <a:defRPr/>
              </a:pPr>
              <a:endParaRPr lang="en-US" sz="2000" kern="0" dirty="0">
                <a:solidFill>
                  <a:srgbClr val="353535"/>
                </a:solidFill>
                <a:latin typeface="Segoe UI" panose="020B0502040204020203" pitchFamily="34" charset="0"/>
                <a:cs typeface="Segoe UI" panose="020B0502040204020203" pitchFamily="34" charset="0"/>
              </a:endParaRPr>
            </a:p>
          </p:txBody>
        </p:sp>
      </p:grpSp>
      <p:sp>
        <p:nvSpPr>
          <p:cNvPr id="122" name="Hexagon 121">
            <a:extLst>
              <a:ext uri="{FF2B5EF4-FFF2-40B4-BE49-F238E27FC236}">
                <a16:creationId xmlns:a16="http://schemas.microsoft.com/office/drawing/2014/main" id="{4D6978AF-32C1-4553-AEC7-9836A1D4E052}"/>
              </a:ext>
            </a:extLst>
          </p:cNvPr>
          <p:cNvSpPr/>
          <p:nvPr/>
        </p:nvSpPr>
        <p:spPr bwMode="auto">
          <a:xfrm rot="5400000">
            <a:off x="3130699" y="2153272"/>
            <a:ext cx="696773" cy="600666"/>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Hexagon 125">
            <a:extLst>
              <a:ext uri="{FF2B5EF4-FFF2-40B4-BE49-F238E27FC236}">
                <a16:creationId xmlns:a16="http://schemas.microsoft.com/office/drawing/2014/main" id="{BF0D76B4-167C-4DF5-B91F-4E99AEA2E039}"/>
              </a:ext>
            </a:extLst>
          </p:cNvPr>
          <p:cNvSpPr/>
          <p:nvPr/>
        </p:nvSpPr>
        <p:spPr bwMode="auto">
          <a:xfrm rot="5400000">
            <a:off x="4882621" y="2153272"/>
            <a:ext cx="696773" cy="600666"/>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Hexagon 130">
            <a:extLst>
              <a:ext uri="{FF2B5EF4-FFF2-40B4-BE49-F238E27FC236}">
                <a16:creationId xmlns:a16="http://schemas.microsoft.com/office/drawing/2014/main" id="{EF07F961-B9A4-48CA-8535-8FEB25D19C7A}"/>
              </a:ext>
            </a:extLst>
          </p:cNvPr>
          <p:cNvSpPr/>
          <p:nvPr/>
        </p:nvSpPr>
        <p:spPr bwMode="auto">
          <a:xfrm rot="5400000">
            <a:off x="6634543" y="2153272"/>
            <a:ext cx="696773" cy="600666"/>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Hexagon 143">
            <a:extLst>
              <a:ext uri="{FF2B5EF4-FFF2-40B4-BE49-F238E27FC236}">
                <a16:creationId xmlns:a16="http://schemas.microsoft.com/office/drawing/2014/main" id="{A40D0DF3-C50E-4551-8A49-6A37D0DFF410}"/>
              </a:ext>
            </a:extLst>
          </p:cNvPr>
          <p:cNvSpPr/>
          <p:nvPr/>
        </p:nvSpPr>
        <p:spPr bwMode="auto">
          <a:xfrm rot="5400000">
            <a:off x="8386465" y="2153272"/>
            <a:ext cx="696773" cy="600666"/>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Hexagon 147">
            <a:extLst>
              <a:ext uri="{FF2B5EF4-FFF2-40B4-BE49-F238E27FC236}">
                <a16:creationId xmlns:a16="http://schemas.microsoft.com/office/drawing/2014/main" id="{61A4CCDA-CDA1-452E-B421-E5635AA26C43}"/>
              </a:ext>
            </a:extLst>
          </p:cNvPr>
          <p:cNvSpPr/>
          <p:nvPr/>
        </p:nvSpPr>
        <p:spPr bwMode="auto">
          <a:xfrm rot="5400000">
            <a:off x="10138387" y="2153272"/>
            <a:ext cx="696773" cy="600666"/>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138">
            <a:extLst>
              <a:ext uri="{FF2B5EF4-FFF2-40B4-BE49-F238E27FC236}">
                <a16:creationId xmlns:a16="http://schemas.microsoft.com/office/drawing/2014/main" id="{17DFC3C8-8837-4ECD-824C-5623CADC287A}"/>
              </a:ext>
            </a:extLst>
          </p:cNvPr>
          <p:cNvSpPr>
            <a:spLocks noChangeAspect="1"/>
          </p:cNvSpPr>
          <p:nvPr/>
        </p:nvSpPr>
        <p:spPr bwMode="auto">
          <a:xfrm rot="5400000">
            <a:off x="10302996" y="2269828"/>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defRPr/>
            </a:pPr>
            <a:endParaRPr lang="en-US" sz="2000" kern="0" spc="-50" dirty="0" err="1">
              <a:solidFill>
                <a:srgbClr val="00188F"/>
              </a:solidFill>
              <a:latin typeface="Segoe UI" pitchFamily="34" charset="0"/>
              <a:ea typeface="Segoe UI" pitchFamily="34" charset="0"/>
              <a:cs typeface="Segoe UI" pitchFamily="34" charset="0"/>
            </a:endParaRPr>
          </a:p>
        </p:txBody>
      </p:sp>
      <p:grpSp>
        <p:nvGrpSpPr>
          <p:cNvPr id="7" name="Group 6">
            <a:extLst>
              <a:ext uri="{FF2B5EF4-FFF2-40B4-BE49-F238E27FC236}">
                <a16:creationId xmlns:a16="http://schemas.microsoft.com/office/drawing/2014/main" id="{0618F54E-C120-4A44-9553-524815F57B41}"/>
              </a:ext>
            </a:extLst>
          </p:cNvPr>
          <p:cNvGrpSpPr/>
          <p:nvPr/>
        </p:nvGrpSpPr>
        <p:grpSpPr>
          <a:xfrm>
            <a:off x="3268873" y="2316928"/>
            <a:ext cx="379742" cy="273351"/>
            <a:chOff x="2518457" y="3815261"/>
            <a:chExt cx="412092" cy="296639"/>
          </a:xfrm>
          <a:noFill/>
        </p:grpSpPr>
        <p:sp>
          <p:nvSpPr>
            <p:cNvPr id="110" name="Freeform 9">
              <a:extLst>
                <a:ext uri="{FF2B5EF4-FFF2-40B4-BE49-F238E27FC236}">
                  <a16:creationId xmlns:a16="http://schemas.microsoft.com/office/drawing/2014/main" id="{2F22AB4C-CDF2-4FC4-8CD2-9407F5951941}"/>
                </a:ext>
              </a:extLst>
            </p:cNvPr>
            <p:cNvSpPr>
              <a:spLocks/>
            </p:cNvSpPr>
            <p:nvPr/>
          </p:nvSpPr>
          <p:spPr bwMode="auto">
            <a:xfrm>
              <a:off x="2518457" y="3815261"/>
              <a:ext cx="346249" cy="202686"/>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505050"/>
                </a:solidFill>
                <a:latin typeface="Segoe UI Semilight"/>
              </a:endParaRPr>
            </a:p>
          </p:txBody>
        </p:sp>
        <p:sp>
          <p:nvSpPr>
            <p:cNvPr id="111" name="Freeform 10">
              <a:extLst>
                <a:ext uri="{FF2B5EF4-FFF2-40B4-BE49-F238E27FC236}">
                  <a16:creationId xmlns:a16="http://schemas.microsoft.com/office/drawing/2014/main" id="{0B8724F8-7A35-4250-ABA1-55B8BB4F3475}"/>
                </a:ext>
              </a:extLst>
            </p:cNvPr>
            <p:cNvSpPr>
              <a:spLocks/>
            </p:cNvSpPr>
            <p:nvPr/>
          </p:nvSpPr>
          <p:spPr bwMode="auto">
            <a:xfrm>
              <a:off x="2636025" y="3846009"/>
              <a:ext cx="294524" cy="127734"/>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505050"/>
                </a:solidFill>
                <a:latin typeface="Segoe UI Semilight"/>
              </a:endParaRPr>
            </a:p>
          </p:txBody>
        </p:sp>
        <p:sp>
          <p:nvSpPr>
            <p:cNvPr id="112" name="Oval 11">
              <a:extLst>
                <a:ext uri="{FF2B5EF4-FFF2-40B4-BE49-F238E27FC236}">
                  <a16:creationId xmlns:a16="http://schemas.microsoft.com/office/drawing/2014/main" id="{67CABBE1-09BD-4D31-BDE7-14C55861FBF1}"/>
                </a:ext>
              </a:extLst>
            </p:cNvPr>
            <p:cNvSpPr>
              <a:spLocks noChangeArrowheads="1"/>
            </p:cNvSpPr>
            <p:nvPr/>
          </p:nvSpPr>
          <p:spPr bwMode="auto">
            <a:xfrm>
              <a:off x="2668357" y="4058061"/>
              <a:ext cx="54893" cy="53839"/>
            </a:xfrm>
            <a:prstGeom prst="ellipse">
              <a:avLst/>
            </a:pr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505050"/>
                </a:solidFill>
                <a:latin typeface="Segoe UI Semilight"/>
              </a:endParaRPr>
            </a:p>
          </p:txBody>
        </p:sp>
        <p:sp>
          <p:nvSpPr>
            <p:cNvPr id="113" name="Oval 12">
              <a:extLst>
                <a:ext uri="{FF2B5EF4-FFF2-40B4-BE49-F238E27FC236}">
                  <a16:creationId xmlns:a16="http://schemas.microsoft.com/office/drawing/2014/main" id="{D1A32664-C5CD-45E0-A5D6-4BCC83188341}"/>
                </a:ext>
              </a:extLst>
            </p:cNvPr>
            <p:cNvSpPr>
              <a:spLocks noChangeArrowheads="1"/>
            </p:cNvSpPr>
            <p:nvPr/>
          </p:nvSpPr>
          <p:spPr bwMode="auto">
            <a:xfrm>
              <a:off x="2802424" y="4058061"/>
              <a:ext cx="55949" cy="53839"/>
            </a:xfrm>
            <a:prstGeom prst="ellipse">
              <a:avLst/>
            </a:pr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505050"/>
                </a:solidFill>
                <a:latin typeface="Segoe UI Semilight"/>
              </a:endParaRPr>
            </a:p>
          </p:txBody>
        </p:sp>
      </p:grpSp>
      <p:grpSp>
        <p:nvGrpSpPr>
          <p:cNvPr id="5" name="Group 4">
            <a:extLst>
              <a:ext uri="{FF2B5EF4-FFF2-40B4-BE49-F238E27FC236}">
                <a16:creationId xmlns:a16="http://schemas.microsoft.com/office/drawing/2014/main" id="{BD35A473-7076-4FB5-8FBB-69CDEF319774}"/>
              </a:ext>
            </a:extLst>
          </p:cNvPr>
          <p:cNvGrpSpPr/>
          <p:nvPr/>
        </p:nvGrpSpPr>
        <p:grpSpPr>
          <a:xfrm>
            <a:off x="5024558" y="2312429"/>
            <a:ext cx="412901" cy="282350"/>
            <a:chOff x="3847870" y="3812244"/>
            <a:chExt cx="447669" cy="306126"/>
          </a:xfrm>
          <a:noFill/>
        </p:grpSpPr>
        <p:sp>
          <p:nvSpPr>
            <p:cNvPr id="103" name="Freeform 5">
              <a:extLst>
                <a:ext uri="{FF2B5EF4-FFF2-40B4-BE49-F238E27FC236}">
                  <a16:creationId xmlns:a16="http://schemas.microsoft.com/office/drawing/2014/main" id="{A1A846E8-275C-402F-B28B-4E89A0A51BBE}"/>
                </a:ext>
              </a:extLst>
            </p:cNvPr>
            <p:cNvSpPr>
              <a:spLocks/>
            </p:cNvSpPr>
            <p:nvPr/>
          </p:nvSpPr>
          <p:spPr bwMode="auto">
            <a:xfrm>
              <a:off x="3847870" y="3812244"/>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353535"/>
                </a:solidFill>
                <a:latin typeface="Segoe UI Semilight"/>
              </a:endParaRPr>
            </a:p>
          </p:txBody>
        </p:sp>
        <p:sp>
          <p:nvSpPr>
            <p:cNvPr id="104" name="Freeform 6">
              <a:extLst>
                <a:ext uri="{FF2B5EF4-FFF2-40B4-BE49-F238E27FC236}">
                  <a16:creationId xmlns:a16="http://schemas.microsoft.com/office/drawing/2014/main" id="{EE09CF45-A284-4D38-96DE-EDEE5610BFB4}"/>
                </a:ext>
              </a:extLst>
            </p:cNvPr>
            <p:cNvSpPr>
              <a:spLocks/>
            </p:cNvSpPr>
            <p:nvPr/>
          </p:nvSpPr>
          <p:spPr bwMode="auto">
            <a:xfrm>
              <a:off x="3940037" y="3959272"/>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353535"/>
                </a:solidFill>
                <a:latin typeface="Segoe UI Semilight"/>
              </a:endParaRPr>
            </a:p>
          </p:txBody>
        </p:sp>
        <p:sp>
          <p:nvSpPr>
            <p:cNvPr id="105" name="Freeform 7">
              <a:extLst>
                <a:ext uri="{FF2B5EF4-FFF2-40B4-BE49-F238E27FC236}">
                  <a16:creationId xmlns:a16="http://schemas.microsoft.com/office/drawing/2014/main" id="{29ECDC4E-A345-42D8-843B-5E77846A4536}"/>
                </a:ext>
              </a:extLst>
            </p:cNvPr>
            <p:cNvSpPr>
              <a:spLocks/>
            </p:cNvSpPr>
            <p:nvPr/>
          </p:nvSpPr>
          <p:spPr bwMode="auto">
            <a:xfrm>
              <a:off x="3940037" y="3991092"/>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353535"/>
                </a:solidFill>
                <a:latin typeface="Segoe UI Semilight"/>
              </a:endParaRPr>
            </a:p>
          </p:txBody>
        </p:sp>
        <p:sp>
          <p:nvSpPr>
            <p:cNvPr id="106" name="Freeform 8">
              <a:extLst>
                <a:ext uri="{FF2B5EF4-FFF2-40B4-BE49-F238E27FC236}">
                  <a16:creationId xmlns:a16="http://schemas.microsoft.com/office/drawing/2014/main" id="{2352198E-755A-4CD6-A868-F6E804EEE80F}"/>
                </a:ext>
              </a:extLst>
            </p:cNvPr>
            <p:cNvSpPr>
              <a:spLocks/>
            </p:cNvSpPr>
            <p:nvPr/>
          </p:nvSpPr>
          <p:spPr bwMode="auto">
            <a:xfrm>
              <a:off x="3974051" y="4025106"/>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353535"/>
                </a:solidFill>
                <a:latin typeface="Segoe UI Semilight"/>
              </a:endParaRPr>
            </a:p>
          </p:txBody>
        </p:sp>
        <p:sp>
          <p:nvSpPr>
            <p:cNvPr id="107" name="Freeform 9">
              <a:extLst>
                <a:ext uri="{FF2B5EF4-FFF2-40B4-BE49-F238E27FC236}">
                  <a16:creationId xmlns:a16="http://schemas.microsoft.com/office/drawing/2014/main" id="{33752CE3-2F8A-47A4-894B-6A7B02CCEFF3}"/>
                </a:ext>
              </a:extLst>
            </p:cNvPr>
            <p:cNvSpPr>
              <a:spLocks/>
            </p:cNvSpPr>
            <p:nvPr/>
          </p:nvSpPr>
          <p:spPr bwMode="auto">
            <a:xfrm>
              <a:off x="4011357" y="3823216"/>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grpFill/>
            <a:ln w="222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000" kern="0" dirty="0">
                <a:solidFill>
                  <a:srgbClr val="353535"/>
                </a:solidFill>
                <a:latin typeface="Segoe UI Semilight"/>
              </a:endParaRPr>
            </a:p>
          </p:txBody>
        </p:sp>
      </p:grpSp>
      <p:sp>
        <p:nvSpPr>
          <p:cNvPr id="97" name="Freeform: Shape 96">
            <a:extLst>
              <a:ext uri="{FF2B5EF4-FFF2-40B4-BE49-F238E27FC236}">
                <a16:creationId xmlns:a16="http://schemas.microsoft.com/office/drawing/2014/main" id="{BFB8C0C5-1DC6-4225-91FB-A63EEFE26CAE}"/>
              </a:ext>
            </a:extLst>
          </p:cNvPr>
          <p:cNvSpPr/>
          <p:nvPr/>
        </p:nvSpPr>
        <p:spPr bwMode="auto">
          <a:xfrm>
            <a:off x="8573392" y="2275078"/>
            <a:ext cx="322919"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22225" cap="flat" cmpd="sng" algn="ctr">
            <a:solidFill>
              <a:schemeClr val="bg1"/>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defTabSz="914225">
              <a:defRPr/>
            </a:pPr>
            <a:endParaRPr lang="en-US" sz="2000" kern="0" dirty="0">
              <a:solidFill>
                <a:srgbClr val="FFFFFF"/>
              </a:solidFill>
              <a:latin typeface="Segoe UI Semilight"/>
            </a:endParaRPr>
          </a:p>
        </p:txBody>
      </p:sp>
      <p:grpSp>
        <p:nvGrpSpPr>
          <p:cNvPr id="74" name="Group 73">
            <a:extLst>
              <a:ext uri="{FF2B5EF4-FFF2-40B4-BE49-F238E27FC236}">
                <a16:creationId xmlns:a16="http://schemas.microsoft.com/office/drawing/2014/main" id="{6C303F19-A228-4C88-84B7-AC9FCAB7C79A}"/>
              </a:ext>
            </a:extLst>
          </p:cNvPr>
          <p:cNvGrpSpPr/>
          <p:nvPr/>
        </p:nvGrpSpPr>
        <p:grpSpPr>
          <a:xfrm>
            <a:off x="6911177" y="2258306"/>
            <a:ext cx="155639" cy="368619"/>
            <a:chOff x="685429" y="2281238"/>
            <a:chExt cx="241300" cy="571500"/>
          </a:xfrm>
        </p:grpSpPr>
        <p:sp>
          <p:nvSpPr>
            <p:cNvPr id="75" name="Freeform 5">
              <a:extLst>
                <a:ext uri="{FF2B5EF4-FFF2-40B4-BE49-F238E27FC236}">
                  <a16:creationId xmlns:a16="http://schemas.microsoft.com/office/drawing/2014/main" id="{CA000271-2914-45BE-B456-41E3AA47CEE6}"/>
                </a:ext>
              </a:extLst>
            </p:cNvPr>
            <p:cNvSpPr>
              <a:spLocks/>
            </p:cNvSpPr>
            <p:nvPr/>
          </p:nvSpPr>
          <p:spPr bwMode="auto">
            <a:xfrm>
              <a:off x="685429" y="2332038"/>
              <a:ext cx="241300" cy="241300"/>
            </a:xfrm>
            <a:custGeom>
              <a:avLst/>
              <a:gdLst>
                <a:gd name="T0" fmla="*/ 227 w 455"/>
                <a:gd name="T1" fmla="*/ 455 h 455"/>
                <a:gd name="T2" fmla="*/ 0 w 455"/>
                <a:gd name="T3" fmla="*/ 228 h 455"/>
                <a:gd name="T4" fmla="*/ 227 w 455"/>
                <a:gd name="T5" fmla="*/ 0 h 455"/>
                <a:gd name="T6" fmla="*/ 455 w 455"/>
                <a:gd name="T7" fmla="*/ 228 h 455"/>
                <a:gd name="T8" fmla="*/ 435 w 455"/>
                <a:gd name="T9" fmla="*/ 248 h 455"/>
                <a:gd name="T10" fmla="*/ 415 w 455"/>
                <a:gd name="T11" fmla="*/ 228 h 455"/>
                <a:gd name="T12" fmla="*/ 227 w 455"/>
                <a:gd name="T13" fmla="*/ 40 h 455"/>
                <a:gd name="T14" fmla="*/ 40 w 455"/>
                <a:gd name="T15" fmla="*/ 228 h 455"/>
                <a:gd name="T16" fmla="*/ 227 w 455"/>
                <a:gd name="T17" fmla="*/ 415 h 455"/>
                <a:gd name="T18" fmla="*/ 247 w 455"/>
                <a:gd name="T19" fmla="*/ 435 h 455"/>
                <a:gd name="T20" fmla="*/ 227 w 455"/>
                <a:gd name="T21"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5" h="455">
                  <a:moveTo>
                    <a:pt x="227" y="455"/>
                  </a:moveTo>
                  <a:cubicBezTo>
                    <a:pt x="102" y="455"/>
                    <a:pt x="0" y="353"/>
                    <a:pt x="0" y="228"/>
                  </a:cubicBezTo>
                  <a:cubicBezTo>
                    <a:pt x="0" y="102"/>
                    <a:pt x="102" y="0"/>
                    <a:pt x="227" y="0"/>
                  </a:cubicBezTo>
                  <a:cubicBezTo>
                    <a:pt x="353" y="0"/>
                    <a:pt x="455" y="102"/>
                    <a:pt x="455" y="228"/>
                  </a:cubicBezTo>
                  <a:cubicBezTo>
                    <a:pt x="455" y="239"/>
                    <a:pt x="446" y="248"/>
                    <a:pt x="435" y="248"/>
                  </a:cubicBezTo>
                  <a:cubicBezTo>
                    <a:pt x="424" y="248"/>
                    <a:pt x="415" y="239"/>
                    <a:pt x="415" y="228"/>
                  </a:cubicBezTo>
                  <a:cubicBezTo>
                    <a:pt x="415" y="124"/>
                    <a:pt x="331" y="40"/>
                    <a:pt x="227" y="40"/>
                  </a:cubicBezTo>
                  <a:cubicBezTo>
                    <a:pt x="124" y="40"/>
                    <a:pt x="40" y="124"/>
                    <a:pt x="40" y="228"/>
                  </a:cubicBezTo>
                  <a:cubicBezTo>
                    <a:pt x="40" y="331"/>
                    <a:pt x="124" y="415"/>
                    <a:pt x="227" y="415"/>
                  </a:cubicBezTo>
                  <a:cubicBezTo>
                    <a:pt x="238" y="415"/>
                    <a:pt x="247" y="424"/>
                    <a:pt x="247" y="435"/>
                  </a:cubicBezTo>
                  <a:cubicBezTo>
                    <a:pt x="247" y="446"/>
                    <a:pt x="238" y="455"/>
                    <a:pt x="227" y="455"/>
                  </a:cubicBezTo>
                  <a:close/>
                </a:path>
              </a:pathLst>
            </a:custGeom>
            <a:solidFill>
              <a:schemeClr val="bg1"/>
            </a:solidFill>
            <a:ln w="9525">
              <a:solidFill>
                <a:schemeClr val="bg1"/>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6">
              <a:extLst>
                <a:ext uri="{FF2B5EF4-FFF2-40B4-BE49-F238E27FC236}">
                  <a16:creationId xmlns:a16="http://schemas.microsoft.com/office/drawing/2014/main" id="{70FBF927-FB2A-4C56-9B03-E39A64356E46}"/>
                </a:ext>
              </a:extLst>
            </p:cNvPr>
            <p:cNvSpPr>
              <a:spLocks/>
            </p:cNvSpPr>
            <p:nvPr/>
          </p:nvSpPr>
          <p:spPr bwMode="auto">
            <a:xfrm>
              <a:off x="685429" y="2551113"/>
              <a:ext cx="241300" cy="241300"/>
            </a:xfrm>
            <a:custGeom>
              <a:avLst/>
              <a:gdLst>
                <a:gd name="T0" fmla="*/ 227 w 455"/>
                <a:gd name="T1" fmla="*/ 455 h 455"/>
                <a:gd name="T2" fmla="*/ 0 w 455"/>
                <a:gd name="T3" fmla="*/ 227 h 455"/>
                <a:gd name="T4" fmla="*/ 20 w 455"/>
                <a:gd name="T5" fmla="*/ 207 h 455"/>
                <a:gd name="T6" fmla="*/ 40 w 455"/>
                <a:gd name="T7" fmla="*/ 227 h 455"/>
                <a:gd name="T8" fmla="*/ 227 w 455"/>
                <a:gd name="T9" fmla="*/ 415 h 455"/>
                <a:gd name="T10" fmla="*/ 415 w 455"/>
                <a:gd name="T11" fmla="*/ 227 h 455"/>
                <a:gd name="T12" fmla="*/ 227 w 455"/>
                <a:gd name="T13" fmla="*/ 40 h 455"/>
                <a:gd name="T14" fmla="*/ 207 w 455"/>
                <a:gd name="T15" fmla="*/ 20 h 455"/>
                <a:gd name="T16" fmla="*/ 227 w 455"/>
                <a:gd name="T17" fmla="*/ 0 h 455"/>
                <a:gd name="T18" fmla="*/ 455 w 455"/>
                <a:gd name="T19" fmla="*/ 227 h 455"/>
                <a:gd name="T20" fmla="*/ 227 w 455"/>
                <a:gd name="T21"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5" h="455">
                  <a:moveTo>
                    <a:pt x="227" y="455"/>
                  </a:moveTo>
                  <a:cubicBezTo>
                    <a:pt x="102" y="455"/>
                    <a:pt x="0" y="353"/>
                    <a:pt x="0" y="227"/>
                  </a:cubicBezTo>
                  <a:cubicBezTo>
                    <a:pt x="0" y="216"/>
                    <a:pt x="9" y="207"/>
                    <a:pt x="20" y="207"/>
                  </a:cubicBezTo>
                  <a:cubicBezTo>
                    <a:pt x="31" y="207"/>
                    <a:pt x="40" y="216"/>
                    <a:pt x="40" y="227"/>
                  </a:cubicBezTo>
                  <a:cubicBezTo>
                    <a:pt x="40" y="331"/>
                    <a:pt x="124" y="415"/>
                    <a:pt x="227" y="415"/>
                  </a:cubicBezTo>
                  <a:cubicBezTo>
                    <a:pt x="331" y="415"/>
                    <a:pt x="415" y="331"/>
                    <a:pt x="415" y="227"/>
                  </a:cubicBezTo>
                  <a:cubicBezTo>
                    <a:pt x="415" y="124"/>
                    <a:pt x="331" y="40"/>
                    <a:pt x="227" y="40"/>
                  </a:cubicBezTo>
                  <a:cubicBezTo>
                    <a:pt x="216" y="40"/>
                    <a:pt x="207" y="31"/>
                    <a:pt x="207" y="20"/>
                  </a:cubicBezTo>
                  <a:cubicBezTo>
                    <a:pt x="207" y="9"/>
                    <a:pt x="216" y="0"/>
                    <a:pt x="227" y="0"/>
                  </a:cubicBezTo>
                  <a:cubicBezTo>
                    <a:pt x="353" y="0"/>
                    <a:pt x="455" y="102"/>
                    <a:pt x="455" y="227"/>
                  </a:cubicBezTo>
                  <a:cubicBezTo>
                    <a:pt x="455" y="353"/>
                    <a:pt x="353" y="455"/>
                    <a:pt x="227" y="455"/>
                  </a:cubicBezTo>
                  <a:close/>
                </a:path>
              </a:pathLst>
            </a:custGeom>
            <a:solidFill>
              <a:schemeClr val="bg1"/>
            </a:solidFill>
            <a:ln w="9525">
              <a:solidFill>
                <a:schemeClr val="bg1"/>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Freeform 7">
              <a:extLst>
                <a:ext uri="{FF2B5EF4-FFF2-40B4-BE49-F238E27FC236}">
                  <a16:creationId xmlns:a16="http://schemas.microsoft.com/office/drawing/2014/main" id="{BBBA3844-4E10-486C-ADC6-3115E7BDFB12}"/>
                </a:ext>
              </a:extLst>
            </p:cNvPr>
            <p:cNvSpPr>
              <a:spLocks/>
            </p:cNvSpPr>
            <p:nvPr/>
          </p:nvSpPr>
          <p:spPr bwMode="auto">
            <a:xfrm>
              <a:off x="794967" y="2281238"/>
              <a:ext cx="20638" cy="571500"/>
            </a:xfrm>
            <a:custGeom>
              <a:avLst/>
              <a:gdLst>
                <a:gd name="T0" fmla="*/ 40 w 40"/>
                <a:gd name="T1" fmla="*/ 0 h 1080"/>
                <a:gd name="T2" fmla="*/ 40 w 40"/>
                <a:gd name="T3" fmla="*/ 1060 h 1080"/>
                <a:gd name="T4" fmla="*/ 20 w 40"/>
                <a:gd name="T5" fmla="*/ 1080 h 1080"/>
                <a:gd name="T6" fmla="*/ 0 w 40"/>
                <a:gd name="T7" fmla="*/ 1060 h 1080"/>
                <a:gd name="T8" fmla="*/ 0 w 40"/>
                <a:gd name="T9" fmla="*/ 0 h 1080"/>
              </a:gdLst>
              <a:ahLst/>
              <a:cxnLst>
                <a:cxn ang="0">
                  <a:pos x="T0" y="T1"/>
                </a:cxn>
                <a:cxn ang="0">
                  <a:pos x="T2" y="T3"/>
                </a:cxn>
                <a:cxn ang="0">
                  <a:pos x="T4" y="T5"/>
                </a:cxn>
                <a:cxn ang="0">
                  <a:pos x="T6" y="T7"/>
                </a:cxn>
                <a:cxn ang="0">
                  <a:pos x="T8" y="T9"/>
                </a:cxn>
              </a:cxnLst>
              <a:rect l="0" t="0" r="r" b="b"/>
              <a:pathLst>
                <a:path w="40" h="1080">
                  <a:moveTo>
                    <a:pt x="40" y="0"/>
                  </a:moveTo>
                  <a:cubicBezTo>
                    <a:pt x="40" y="1060"/>
                    <a:pt x="40" y="1060"/>
                    <a:pt x="40" y="1060"/>
                  </a:cubicBezTo>
                  <a:cubicBezTo>
                    <a:pt x="40" y="1071"/>
                    <a:pt x="31" y="1080"/>
                    <a:pt x="20" y="1080"/>
                  </a:cubicBezTo>
                  <a:cubicBezTo>
                    <a:pt x="9" y="1080"/>
                    <a:pt x="0" y="1071"/>
                    <a:pt x="0" y="1060"/>
                  </a:cubicBezTo>
                  <a:cubicBezTo>
                    <a:pt x="0" y="0"/>
                    <a:pt x="0" y="0"/>
                    <a:pt x="0" y="0"/>
                  </a:cubicBezTo>
                </a:path>
              </a:pathLst>
            </a:custGeom>
            <a:solidFill>
              <a:schemeClr val="bg1"/>
            </a:solidFill>
            <a:ln w="9525">
              <a:solidFill>
                <a:schemeClr val="bg1"/>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62" name="Rectangle 61">
            <a:extLst>
              <a:ext uri="{FF2B5EF4-FFF2-40B4-BE49-F238E27FC236}">
                <a16:creationId xmlns:a16="http://schemas.microsoft.com/office/drawing/2014/main" id="{0C159DF5-5458-4FAF-BE41-B22AC1383A37}"/>
              </a:ext>
            </a:extLst>
          </p:cNvPr>
          <p:cNvSpPr/>
          <p:nvPr/>
        </p:nvSpPr>
        <p:spPr bwMode="auto">
          <a:xfrm>
            <a:off x="1" y="5782926"/>
            <a:ext cx="12192000" cy="10745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3BF4288A-1E77-4650-8A5F-5F8EB0B4A6F7}"/>
              </a:ext>
            </a:extLst>
          </p:cNvPr>
          <p:cNvSpPr/>
          <p:nvPr/>
        </p:nvSpPr>
        <p:spPr bwMode="auto">
          <a:xfrm>
            <a:off x="8016544" y="6451893"/>
            <a:ext cx="2264394" cy="262537"/>
          </a:xfrm>
          <a:prstGeom prst="rect">
            <a:avLst/>
          </a:prstGeom>
          <a:noFill/>
          <a:ln w="10795" cap="flat" cmpd="sng" algn="ctr">
            <a:noFill/>
            <a:prstDash val="solid"/>
          </a:ln>
          <a:effectLst/>
        </p:spPr>
        <p:txBody>
          <a:bodyPr spcFirstLastPara="0" vert="horz" wrap="square" lIns="0" tIns="0" rIns="0" bIns="0" numCol="1" spcCol="1270" anchor="ctr" anchorCtr="0">
            <a:noAutofit/>
          </a:bodyPr>
          <a:lstStyle/>
          <a:p>
            <a:pPr algn="ctr" defTabSz="711064">
              <a:spcBef>
                <a:spcPct val="0"/>
              </a:spcBef>
              <a:spcAft>
                <a:spcPct val="35000"/>
              </a:spcAft>
              <a:defRPr/>
            </a:pPr>
            <a:r>
              <a:rPr lang="en-US" sz="1372" kern="0" dirty="0">
                <a:solidFill>
                  <a:srgbClr val="002050"/>
                </a:solidFill>
                <a:latin typeface="Segoe UI Semibold" panose="020B0702040204020203" pitchFamily="34" charset="0"/>
                <a:cs typeface="Segoe UI Semibold" panose="020B0702040204020203" pitchFamily="34" charset="0"/>
              </a:rPr>
              <a:t>Multiparty</a:t>
            </a:r>
            <a:br>
              <a:rPr lang="en-US" sz="1372" kern="0" dirty="0">
                <a:solidFill>
                  <a:srgbClr val="002050"/>
                </a:solidFill>
                <a:latin typeface="Segoe UI Semibold" panose="020B0702040204020203" pitchFamily="34" charset="0"/>
                <a:cs typeface="Segoe UI Semibold" panose="020B0702040204020203" pitchFamily="34" charset="0"/>
              </a:rPr>
            </a:br>
            <a:r>
              <a:rPr lang="en-US" sz="1372" kern="0" dirty="0">
                <a:solidFill>
                  <a:srgbClr val="002050"/>
                </a:solidFill>
                <a:latin typeface="Segoe UI Semibold" panose="020B0702040204020203" pitchFamily="34" charset="0"/>
                <a:cs typeface="Segoe UI Semibold" panose="020B0702040204020203" pitchFamily="34" charset="0"/>
              </a:rPr>
              <a:t>auditing</a:t>
            </a:r>
          </a:p>
        </p:txBody>
      </p:sp>
      <p:sp>
        <p:nvSpPr>
          <p:cNvPr id="65" name="Rectangle 64">
            <a:extLst>
              <a:ext uri="{FF2B5EF4-FFF2-40B4-BE49-F238E27FC236}">
                <a16:creationId xmlns:a16="http://schemas.microsoft.com/office/drawing/2014/main" id="{01E78B1B-F13B-45FC-8282-6F9488463FFF}"/>
              </a:ext>
            </a:extLst>
          </p:cNvPr>
          <p:cNvSpPr/>
          <p:nvPr/>
        </p:nvSpPr>
        <p:spPr bwMode="auto">
          <a:xfrm>
            <a:off x="2006458" y="6494177"/>
            <a:ext cx="2008676" cy="150076"/>
          </a:xfrm>
          <a:prstGeom prst="rect">
            <a:avLst/>
          </a:prstGeom>
          <a:noFill/>
          <a:ln w="10795" cap="flat" cmpd="sng" algn="ctr">
            <a:noFill/>
            <a:prstDash val="solid"/>
          </a:ln>
          <a:effectLst/>
        </p:spPr>
        <p:txBody>
          <a:bodyPr spcFirstLastPara="0" vert="horz" wrap="square" lIns="0" tIns="0" rIns="0" bIns="0" numCol="1" spcCol="1270" anchor="ctr" anchorCtr="0">
            <a:noAutofit/>
          </a:bodyPr>
          <a:lstStyle/>
          <a:p>
            <a:pPr algn="ctr" defTabSz="711064">
              <a:spcBef>
                <a:spcPct val="0"/>
              </a:spcBef>
              <a:spcAft>
                <a:spcPct val="35000"/>
              </a:spcAft>
              <a:defRPr/>
            </a:pPr>
            <a:r>
              <a:rPr lang="en-US" sz="1372" kern="0" dirty="0">
                <a:solidFill>
                  <a:srgbClr val="002050"/>
                </a:solidFill>
                <a:latin typeface="Segoe UI Semibold" panose="020B0702040204020203" pitchFamily="34" charset="0"/>
                <a:cs typeface="Segoe UI Semibold" panose="020B0702040204020203" pitchFamily="34" charset="0"/>
              </a:rPr>
              <a:t>Asset transfer and provenance</a:t>
            </a:r>
          </a:p>
        </p:txBody>
      </p:sp>
      <p:sp>
        <p:nvSpPr>
          <p:cNvPr id="66" name="Circular Arrow 5">
            <a:extLst>
              <a:ext uri="{FF2B5EF4-FFF2-40B4-BE49-F238E27FC236}">
                <a16:creationId xmlns:a16="http://schemas.microsoft.com/office/drawing/2014/main" id="{78C15873-3DC7-4A32-8FA5-3E4E972CAC61}"/>
              </a:ext>
            </a:extLst>
          </p:cNvPr>
          <p:cNvSpPr/>
          <p:nvPr/>
        </p:nvSpPr>
        <p:spPr>
          <a:xfrm flipV="1">
            <a:off x="2725302" y="5874502"/>
            <a:ext cx="534033" cy="449782"/>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8">
              <a:defRPr/>
            </a:pPr>
            <a:endParaRPr lang="en-US" dirty="0">
              <a:solidFill>
                <a:srgbClr val="002050"/>
              </a:solidFill>
              <a:latin typeface="Segoe UI Semilight"/>
            </a:endParaRPr>
          </a:p>
        </p:txBody>
      </p:sp>
      <p:sp>
        <p:nvSpPr>
          <p:cNvPr id="67" name="Donut 3">
            <a:extLst>
              <a:ext uri="{FF2B5EF4-FFF2-40B4-BE49-F238E27FC236}">
                <a16:creationId xmlns:a16="http://schemas.microsoft.com/office/drawing/2014/main" id="{60B6B21D-9569-4A29-8E98-DE0BF49320DD}"/>
              </a:ext>
            </a:extLst>
          </p:cNvPr>
          <p:cNvSpPr/>
          <p:nvPr/>
        </p:nvSpPr>
        <p:spPr bwMode="auto">
          <a:xfrm>
            <a:off x="8828132" y="5838730"/>
            <a:ext cx="604264" cy="54922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accent1"/>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8">
              <a:defRPr/>
            </a:pPr>
            <a:endParaRPr lang="en-US" dirty="0" err="1">
              <a:solidFill>
                <a:srgbClr val="002050"/>
              </a:solidFill>
              <a:latin typeface="Segoe UI Semilight"/>
            </a:endParaRPr>
          </a:p>
        </p:txBody>
      </p:sp>
      <p:sp>
        <p:nvSpPr>
          <p:cNvPr id="68" name="Rectangle 67">
            <a:extLst>
              <a:ext uri="{FF2B5EF4-FFF2-40B4-BE49-F238E27FC236}">
                <a16:creationId xmlns:a16="http://schemas.microsoft.com/office/drawing/2014/main" id="{2ADAB448-4A92-44EA-9D67-F96748546CEE}"/>
              </a:ext>
            </a:extLst>
          </p:cNvPr>
          <p:cNvSpPr/>
          <p:nvPr/>
        </p:nvSpPr>
        <p:spPr bwMode="auto">
          <a:xfrm>
            <a:off x="4932398" y="6358006"/>
            <a:ext cx="2222670" cy="422417"/>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algn="ctr" defTabSz="711064">
              <a:spcBef>
                <a:spcPct val="0"/>
              </a:spcBef>
              <a:spcAft>
                <a:spcPct val="35000"/>
              </a:spcAft>
              <a:defRPr/>
            </a:pPr>
            <a:r>
              <a:rPr lang="en-US" sz="1372" kern="0" dirty="0">
                <a:solidFill>
                  <a:srgbClr val="002050"/>
                </a:solidFill>
                <a:latin typeface="Segoe UI Semibold" panose="020B0702040204020203" pitchFamily="34" charset="0"/>
                <a:cs typeface="Segoe UI Semibold" panose="020B0702040204020203" pitchFamily="34" charset="0"/>
              </a:rPr>
              <a:t>Cross-organizational workflow</a:t>
            </a:r>
          </a:p>
        </p:txBody>
      </p:sp>
      <p:grpSp>
        <p:nvGrpSpPr>
          <p:cNvPr id="69" name="Group 68">
            <a:extLst>
              <a:ext uri="{FF2B5EF4-FFF2-40B4-BE49-F238E27FC236}">
                <a16:creationId xmlns:a16="http://schemas.microsoft.com/office/drawing/2014/main" id="{FC21C6F3-CD6D-43A3-BE6A-9FEE1F8C13F9}"/>
              </a:ext>
            </a:extLst>
          </p:cNvPr>
          <p:cNvGrpSpPr/>
          <p:nvPr/>
        </p:nvGrpSpPr>
        <p:grpSpPr>
          <a:xfrm>
            <a:off x="5754542" y="5841750"/>
            <a:ext cx="674419" cy="515286"/>
            <a:chOff x="896532" y="785004"/>
            <a:chExt cx="684623" cy="526985"/>
          </a:xfrm>
          <a:solidFill>
            <a:schemeClr val="accent1"/>
          </a:solidFill>
        </p:grpSpPr>
        <p:sp>
          <p:nvSpPr>
            <p:cNvPr id="70" name="Oval 69">
              <a:extLst>
                <a:ext uri="{FF2B5EF4-FFF2-40B4-BE49-F238E27FC236}">
                  <a16:creationId xmlns:a16="http://schemas.microsoft.com/office/drawing/2014/main" id="{837FC74D-C51F-48D5-AF9A-00D7E0B46E6A}"/>
                </a:ext>
              </a:extLst>
            </p:cNvPr>
            <p:cNvSpPr>
              <a:spLocks noChangeArrowheads="1"/>
            </p:cNvSpPr>
            <p:nvPr/>
          </p:nvSpPr>
          <p:spPr bwMode="auto">
            <a:xfrm>
              <a:off x="1135916" y="785004"/>
              <a:ext cx="218446" cy="218809"/>
            </a:xfrm>
            <a:prstGeom prst="ellipse">
              <a:avLst/>
            </a:pr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sp>
          <p:nvSpPr>
            <p:cNvPr id="85" name="Freeform 11">
              <a:extLst>
                <a:ext uri="{FF2B5EF4-FFF2-40B4-BE49-F238E27FC236}">
                  <a16:creationId xmlns:a16="http://schemas.microsoft.com/office/drawing/2014/main" id="{BDC589DA-1D30-4A1A-8050-E9921C17BC80}"/>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grpSp>
          <p:nvGrpSpPr>
            <p:cNvPr id="86" name="Group 85">
              <a:extLst>
                <a:ext uri="{FF2B5EF4-FFF2-40B4-BE49-F238E27FC236}">
                  <a16:creationId xmlns:a16="http://schemas.microsoft.com/office/drawing/2014/main" id="{0A902AD3-CB53-4878-9BCA-1AD4C855D49B}"/>
                </a:ext>
              </a:extLst>
            </p:cNvPr>
            <p:cNvGrpSpPr/>
            <p:nvPr/>
          </p:nvGrpSpPr>
          <p:grpSpPr>
            <a:xfrm>
              <a:off x="896532" y="873214"/>
              <a:ext cx="201230" cy="369681"/>
              <a:chOff x="851065" y="755975"/>
              <a:chExt cx="287391" cy="527971"/>
            </a:xfrm>
            <a:grpFill/>
          </p:grpSpPr>
          <p:sp>
            <p:nvSpPr>
              <p:cNvPr id="90" name="Oval 89">
                <a:extLst>
                  <a:ext uri="{FF2B5EF4-FFF2-40B4-BE49-F238E27FC236}">
                    <a16:creationId xmlns:a16="http://schemas.microsoft.com/office/drawing/2014/main" id="{64B20290-7C75-4274-8403-0E453E821C00}"/>
                  </a:ext>
                </a:extLst>
              </p:cNvPr>
              <p:cNvSpPr>
                <a:spLocks noChangeArrowheads="1"/>
              </p:cNvSpPr>
              <p:nvPr/>
            </p:nvSpPr>
            <p:spPr bwMode="auto">
              <a:xfrm>
                <a:off x="930895" y="755975"/>
                <a:ext cx="194496" cy="195585"/>
              </a:xfrm>
              <a:prstGeom prst="ellipse">
                <a:avLst/>
              </a:pr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sp>
            <p:nvSpPr>
              <p:cNvPr id="92" name="Freeform 7">
                <a:extLst>
                  <a:ext uri="{FF2B5EF4-FFF2-40B4-BE49-F238E27FC236}">
                    <a16:creationId xmlns:a16="http://schemas.microsoft.com/office/drawing/2014/main" id="{077AEA1D-C37D-419F-B8A6-5AA184CC8382}"/>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grpSp>
        <p:grpSp>
          <p:nvGrpSpPr>
            <p:cNvPr id="87" name="Group 86">
              <a:extLst>
                <a:ext uri="{FF2B5EF4-FFF2-40B4-BE49-F238E27FC236}">
                  <a16:creationId xmlns:a16="http://schemas.microsoft.com/office/drawing/2014/main" id="{6B24C9C0-11BD-4BCA-81B7-E3E8633EE7E1}"/>
                </a:ext>
              </a:extLst>
            </p:cNvPr>
            <p:cNvGrpSpPr/>
            <p:nvPr/>
          </p:nvGrpSpPr>
          <p:grpSpPr>
            <a:xfrm flipH="1">
              <a:off x="1379925" y="873214"/>
              <a:ext cx="201230" cy="369681"/>
              <a:chOff x="851065" y="755975"/>
              <a:chExt cx="287391" cy="527971"/>
            </a:xfrm>
            <a:grpFill/>
          </p:grpSpPr>
          <p:sp>
            <p:nvSpPr>
              <p:cNvPr id="88" name="Oval 87">
                <a:extLst>
                  <a:ext uri="{FF2B5EF4-FFF2-40B4-BE49-F238E27FC236}">
                    <a16:creationId xmlns:a16="http://schemas.microsoft.com/office/drawing/2014/main" id="{8F3A314F-0745-4AAB-B92E-9D0CD24F9F87}"/>
                  </a:ext>
                </a:extLst>
              </p:cNvPr>
              <p:cNvSpPr>
                <a:spLocks noChangeArrowheads="1"/>
              </p:cNvSpPr>
              <p:nvPr/>
            </p:nvSpPr>
            <p:spPr bwMode="auto">
              <a:xfrm>
                <a:off x="930895" y="755975"/>
                <a:ext cx="194496" cy="195585"/>
              </a:xfrm>
              <a:prstGeom prst="ellipse">
                <a:avLst/>
              </a:pr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sp>
            <p:nvSpPr>
              <p:cNvPr id="89" name="Freeform 7">
                <a:extLst>
                  <a:ext uri="{FF2B5EF4-FFF2-40B4-BE49-F238E27FC236}">
                    <a16:creationId xmlns:a16="http://schemas.microsoft.com/office/drawing/2014/main" id="{35BB8246-B767-4363-A445-156577C309AE}"/>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4" fontAlgn="base">
                  <a:spcBef>
                    <a:spcPct val="0"/>
                  </a:spcBef>
                  <a:spcAft>
                    <a:spcPct val="0"/>
                  </a:spcAft>
                  <a:defRPr/>
                </a:pPr>
                <a:endParaRPr lang="en-US" sz="2200" kern="0" dirty="0">
                  <a:solidFill>
                    <a:srgbClr val="002050"/>
                  </a:solidFill>
                  <a:latin typeface="Segoe"/>
                </a:endParaRPr>
              </a:p>
            </p:txBody>
          </p:sp>
        </p:grpSp>
      </p:grpSp>
      <p:pic>
        <p:nvPicPr>
          <p:cNvPr id="93" name="Picture 2" descr="A square divided into four sub-squares, colored red, green, yellow and blue (clockwise), with the company name appearing to its right.">
            <a:extLst>
              <a:ext uri="{FF2B5EF4-FFF2-40B4-BE49-F238E27FC236}">
                <a16:creationId xmlns:a16="http://schemas.microsoft.com/office/drawing/2014/main" id="{DEA69C8C-605F-4BC1-880B-DF1A623B28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911" y="6495887"/>
            <a:ext cx="1181266" cy="252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00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F0431-9529-4B9F-82E6-6BFF325F2894}"/>
              </a:ext>
            </a:extLst>
          </p:cNvPr>
          <p:cNvSpPr>
            <a:spLocks noGrp="1"/>
          </p:cNvSpPr>
          <p:nvPr>
            <p:ph type="title"/>
          </p:nvPr>
        </p:nvSpPr>
        <p:spPr>
          <a:xfrm>
            <a:off x="588263" y="457200"/>
            <a:ext cx="11018520" cy="1107996"/>
          </a:xfrm>
        </p:spPr>
        <p:txBody>
          <a:bodyPr/>
          <a:lstStyle/>
          <a:p>
            <a:r>
              <a:rPr lang="en-US" sz="3600" dirty="0"/>
              <a:t>With Azure Blockchain Workbench you can skip the scaffolding</a:t>
            </a:r>
          </a:p>
        </p:txBody>
      </p:sp>
      <p:sp>
        <p:nvSpPr>
          <p:cNvPr id="11" name="Rectangle 10">
            <a:extLst>
              <a:ext uri="{FF2B5EF4-FFF2-40B4-BE49-F238E27FC236}">
                <a16:creationId xmlns:a16="http://schemas.microsoft.com/office/drawing/2014/main" id="{371A3C0E-272B-49A5-A81F-DF6C05B6509A}"/>
              </a:ext>
            </a:extLst>
          </p:cNvPr>
          <p:cNvSpPr/>
          <p:nvPr/>
        </p:nvSpPr>
        <p:spPr bwMode="auto">
          <a:xfrm>
            <a:off x="586046" y="4778728"/>
            <a:ext cx="6822116" cy="120061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p:txBody>
      </p:sp>
      <p:sp>
        <p:nvSpPr>
          <p:cNvPr id="38" name="Rounded Rectangle 17">
            <a:extLst>
              <a:ext uri="{FF2B5EF4-FFF2-40B4-BE49-F238E27FC236}">
                <a16:creationId xmlns:a16="http://schemas.microsoft.com/office/drawing/2014/main" id="{65BD7225-69A7-4805-B045-5C1BF20B2A36}"/>
              </a:ext>
            </a:extLst>
          </p:cNvPr>
          <p:cNvSpPr/>
          <p:nvPr/>
        </p:nvSpPr>
        <p:spPr bwMode="auto">
          <a:xfrm>
            <a:off x="741606" y="2213474"/>
            <a:ext cx="3655320" cy="31001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Horizontal SaaS &amp; adapters</a:t>
            </a:r>
          </a:p>
        </p:txBody>
      </p:sp>
      <p:grpSp>
        <p:nvGrpSpPr>
          <p:cNvPr id="19" name="Group 18">
            <a:extLst>
              <a:ext uri="{FF2B5EF4-FFF2-40B4-BE49-F238E27FC236}">
                <a16:creationId xmlns:a16="http://schemas.microsoft.com/office/drawing/2014/main" id="{C64F3461-D901-4273-9806-080390350EAA}"/>
              </a:ext>
            </a:extLst>
          </p:cNvPr>
          <p:cNvGrpSpPr/>
          <p:nvPr/>
        </p:nvGrpSpPr>
        <p:grpSpPr>
          <a:xfrm>
            <a:off x="741605" y="3152222"/>
            <a:ext cx="6343760" cy="1632602"/>
            <a:chOff x="1471667" y="3399468"/>
            <a:chExt cx="6037842" cy="1351602"/>
          </a:xfrm>
          <a:solidFill>
            <a:srgbClr val="00BCF2">
              <a:lumMod val="20000"/>
              <a:lumOff val="80000"/>
              <a:alpha val="50000"/>
            </a:srgbClr>
          </a:solidFill>
        </p:grpSpPr>
        <p:sp>
          <p:nvSpPr>
            <p:cNvPr id="20" name="Rectangle 19">
              <a:extLst>
                <a:ext uri="{FF2B5EF4-FFF2-40B4-BE49-F238E27FC236}">
                  <a16:creationId xmlns:a16="http://schemas.microsoft.com/office/drawing/2014/main" id="{F0ADC35F-AF52-4BD4-AA30-027C23956BBE}"/>
                </a:ext>
              </a:extLst>
            </p:cNvPr>
            <p:cNvSpPr/>
            <p:nvPr/>
          </p:nvSpPr>
          <p:spPr bwMode="auto">
            <a:xfrm>
              <a:off x="1471667" y="3399468"/>
              <a:ext cx="6037842" cy="134375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6A0BB80C-BD87-479D-BB8D-9E8FE4ADC77B}"/>
                </a:ext>
              </a:extLst>
            </p:cNvPr>
            <p:cNvGrpSpPr/>
            <p:nvPr/>
          </p:nvGrpSpPr>
          <p:grpSpPr>
            <a:xfrm>
              <a:off x="1474469" y="3421239"/>
              <a:ext cx="6035040" cy="1329831"/>
              <a:chOff x="1559012" y="3421239"/>
              <a:chExt cx="6035040" cy="1329831"/>
            </a:xfrm>
            <a:grpFill/>
          </p:grpSpPr>
          <p:cxnSp>
            <p:nvCxnSpPr>
              <p:cNvPr id="22" name="Straight Connector 21">
                <a:extLst>
                  <a:ext uri="{FF2B5EF4-FFF2-40B4-BE49-F238E27FC236}">
                    <a16:creationId xmlns:a16="http://schemas.microsoft.com/office/drawing/2014/main" id="{0857833B-0277-4F93-BD95-1838ED327F28}"/>
                  </a:ext>
                </a:extLst>
              </p:cNvPr>
              <p:cNvCxnSpPr/>
              <p:nvPr/>
            </p:nvCxnSpPr>
            <p:spPr>
              <a:xfrm>
                <a:off x="1559012"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3" name="Straight Connector 22">
                <a:extLst>
                  <a:ext uri="{FF2B5EF4-FFF2-40B4-BE49-F238E27FC236}">
                    <a16:creationId xmlns:a16="http://schemas.microsoft.com/office/drawing/2014/main" id="{C5ED3BBB-334F-4A1A-91AC-8A062AED876A}"/>
                  </a:ext>
                </a:extLst>
              </p:cNvPr>
              <p:cNvCxnSpPr/>
              <p:nvPr/>
            </p:nvCxnSpPr>
            <p:spPr>
              <a:xfrm>
                <a:off x="1961348"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4" name="Straight Connector 23">
                <a:extLst>
                  <a:ext uri="{FF2B5EF4-FFF2-40B4-BE49-F238E27FC236}">
                    <a16:creationId xmlns:a16="http://schemas.microsoft.com/office/drawing/2014/main" id="{C650F74D-4329-41F8-92CB-BCA220C16ED0}"/>
                  </a:ext>
                </a:extLst>
              </p:cNvPr>
              <p:cNvCxnSpPr/>
              <p:nvPr/>
            </p:nvCxnSpPr>
            <p:spPr>
              <a:xfrm>
                <a:off x="2363684"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5" name="Straight Connector 24">
                <a:extLst>
                  <a:ext uri="{FF2B5EF4-FFF2-40B4-BE49-F238E27FC236}">
                    <a16:creationId xmlns:a16="http://schemas.microsoft.com/office/drawing/2014/main" id="{AB567F3C-4A77-4D54-8885-E5AC1147BEB4}"/>
                  </a:ext>
                </a:extLst>
              </p:cNvPr>
              <p:cNvCxnSpPr/>
              <p:nvPr/>
            </p:nvCxnSpPr>
            <p:spPr>
              <a:xfrm>
                <a:off x="2766020"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6" name="Straight Connector 25">
                <a:extLst>
                  <a:ext uri="{FF2B5EF4-FFF2-40B4-BE49-F238E27FC236}">
                    <a16:creationId xmlns:a16="http://schemas.microsoft.com/office/drawing/2014/main" id="{5D8C18A9-41C1-4E07-9372-2B5A454D52AA}"/>
                  </a:ext>
                </a:extLst>
              </p:cNvPr>
              <p:cNvCxnSpPr/>
              <p:nvPr/>
            </p:nvCxnSpPr>
            <p:spPr>
              <a:xfrm>
                <a:off x="3168356"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7" name="Straight Connector 26">
                <a:extLst>
                  <a:ext uri="{FF2B5EF4-FFF2-40B4-BE49-F238E27FC236}">
                    <a16:creationId xmlns:a16="http://schemas.microsoft.com/office/drawing/2014/main" id="{43F2ED22-7E99-40B8-A482-979D081524A6}"/>
                  </a:ext>
                </a:extLst>
              </p:cNvPr>
              <p:cNvCxnSpPr/>
              <p:nvPr/>
            </p:nvCxnSpPr>
            <p:spPr>
              <a:xfrm>
                <a:off x="3570692"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8" name="Straight Connector 27">
                <a:extLst>
                  <a:ext uri="{FF2B5EF4-FFF2-40B4-BE49-F238E27FC236}">
                    <a16:creationId xmlns:a16="http://schemas.microsoft.com/office/drawing/2014/main" id="{8CF75FE1-61D3-485E-8A25-568C589B20B1}"/>
                  </a:ext>
                </a:extLst>
              </p:cNvPr>
              <p:cNvCxnSpPr/>
              <p:nvPr/>
            </p:nvCxnSpPr>
            <p:spPr>
              <a:xfrm>
                <a:off x="3973028"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29" name="Straight Connector 28">
                <a:extLst>
                  <a:ext uri="{FF2B5EF4-FFF2-40B4-BE49-F238E27FC236}">
                    <a16:creationId xmlns:a16="http://schemas.microsoft.com/office/drawing/2014/main" id="{CFCB710B-D72A-4E1F-A680-62C2EC929AB8}"/>
                  </a:ext>
                </a:extLst>
              </p:cNvPr>
              <p:cNvCxnSpPr/>
              <p:nvPr/>
            </p:nvCxnSpPr>
            <p:spPr>
              <a:xfrm>
                <a:off x="4375364"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0" name="Straight Connector 29">
                <a:extLst>
                  <a:ext uri="{FF2B5EF4-FFF2-40B4-BE49-F238E27FC236}">
                    <a16:creationId xmlns:a16="http://schemas.microsoft.com/office/drawing/2014/main" id="{77D85785-BAA9-4563-A597-07679EA7BB5D}"/>
                  </a:ext>
                </a:extLst>
              </p:cNvPr>
              <p:cNvCxnSpPr/>
              <p:nvPr/>
            </p:nvCxnSpPr>
            <p:spPr>
              <a:xfrm>
                <a:off x="4777700"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1" name="Straight Connector 30">
                <a:extLst>
                  <a:ext uri="{FF2B5EF4-FFF2-40B4-BE49-F238E27FC236}">
                    <a16:creationId xmlns:a16="http://schemas.microsoft.com/office/drawing/2014/main" id="{FAF05EF7-8629-42D6-8C56-AD0D96A9ADC1}"/>
                  </a:ext>
                </a:extLst>
              </p:cNvPr>
              <p:cNvCxnSpPr/>
              <p:nvPr/>
            </p:nvCxnSpPr>
            <p:spPr>
              <a:xfrm>
                <a:off x="5180036"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2" name="Straight Connector 31">
                <a:extLst>
                  <a:ext uri="{FF2B5EF4-FFF2-40B4-BE49-F238E27FC236}">
                    <a16:creationId xmlns:a16="http://schemas.microsoft.com/office/drawing/2014/main" id="{922D2015-0624-46F3-9562-0FEA37635F61}"/>
                  </a:ext>
                </a:extLst>
              </p:cNvPr>
              <p:cNvCxnSpPr/>
              <p:nvPr/>
            </p:nvCxnSpPr>
            <p:spPr>
              <a:xfrm>
                <a:off x="5582372"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3" name="Straight Connector 32">
                <a:extLst>
                  <a:ext uri="{FF2B5EF4-FFF2-40B4-BE49-F238E27FC236}">
                    <a16:creationId xmlns:a16="http://schemas.microsoft.com/office/drawing/2014/main" id="{536711EA-7A46-42D9-BF1C-24AB889FE7E8}"/>
                  </a:ext>
                </a:extLst>
              </p:cNvPr>
              <p:cNvCxnSpPr/>
              <p:nvPr/>
            </p:nvCxnSpPr>
            <p:spPr>
              <a:xfrm>
                <a:off x="5984708"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4" name="Straight Connector 33">
                <a:extLst>
                  <a:ext uri="{FF2B5EF4-FFF2-40B4-BE49-F238E27FC236}">
                    <a16:creationId xmlns:a16="http://schemas.microsoft.com/office/drawing/2014/main" id="{25C7C5C3-765B-4E8F-9D7E-B7B26653A01A}"/>
                  </a:ext>
                </a:extLst>
              </p:cNvPr>
              <p:cNvCxnSpPr/>
              <p:nvPr/>
            </p:nvCxnSpPr>
            <p:spPr>
              <a:xfrm>
                <a:off x="6387044"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5" name="Straight Connector 34">
                <a:extLst>
                  <a:ext uri="{FF2B5EF4-FFF2-40B4-BE49-F238E27FC236}">
                    <a16:creationId xmlns:a16="http://schemas.microsoft.com/office/drawing/2014/main" id="{0ED14682-41CE-4F12-BBA6-D565E2A7916C}"/>
                  </a:ext>
                </a:extLst>
              </p:cNvPr>
              <p:cNvCxnSpPr/>
              <p:nvPr/>
            </p:nvCxnSpPr>
            <p:spPr>
              <a:xfrm>
                <a:off x="6789380"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6" name="Straight Connector 35">
                <a:extLst>
                  <a:ext uri="{FF2B5EF4-FFF2-40B4-BE49-F238E27FC236}">
                    <a16:creationId xmlns:a16="http://schemas.microsoft.com/office/drawing/2014/main" id="{4E82929C-A98F-4B6D-BC05-1E977E86CF45}"/>
                  </a:ext>
                </a:extLst>
              </p:cNvPr>
              <p:cNvCxnSpPr/>
              <p:nvPr/>
            </p:nvCxnSpPr>
            <p:spPr>
              <a:xfrm>
                <a:off x="7191716" y="3421239"/>
                <a:ext cx="0" cy="1329831"/>
              </a:xfrm>
              <a:prstGeom prst="line">
                <a:avLst/>
              </a:prstGeom>
              <a:grpFill/>
              <a:ln w="6350" cap="flat" cmpd="sng" algn="ctr">
                <a:solidFill>
                  <a:srgbClr val="FFFFFF">
                    <a:lumMod val="75000"/>
                  </a:srgbClr>
                </a:solidFill>
                <a:prstDash val="dash"/>
                <a:headEnd type="none"/>
                <a:tailEnd type="none"/>
              </a:ln>
              <a:effectLst/>
            </p:spPr>
          </p:cxnSp>
          <p:cxnSp>
            <p:nvCxnSpPr>
              <p:cNvPr id="37" name="Straight Connector 36">
                <a:extLst>
                  <a:ext uri="{FF2B5EF4-FFF2-40B4-BE49-F238E27FC236}">
                    <a16:creationId xmlns:a16="http://schemas.microsoft.com/office/drawing/2014/main" id="{4C03741A-E742-42AA-B343-E859B7F99E23}"/>
                  </a:ext>
                </a:extLst>
              </p:cNvPr>
              <p:cNvCxnSpPr/>
              <p:nvPr/>
            </p:nvCxnSpPr>
            <p:spPr>
              <a:xfrm>
                <a:off x="7594052" y="3421239"/>
                <a:ext cx="0" cy="1329831"/>
              </a:xfrm>
              <a:prstGeom prst="line">
                <a:avLst/>
              </a:prstGeom>
              <a:grpFill/>
              <a:ln w="6350" cap="flat" cmpd="sng" algn="ctr">
                <a:solidFill>
                  <a:srgbClr val="FFFFFF">
                    <a:lumMod val="75000"/>
                  </a:srgbClr>
                </a:solidFill>
                <a:prstDash val="dash"/>
                <a:headEnd type="none"/>
                <a:tailEnd type="none"/>
              </a:ln>
              <a:effectLst/>
            </p:spPr>
          </p:cxnSp>
        </p:grpSp>
      </p:grpSp>
      <p:grpSp>
        <p:nvGrpSpPr>
          <p:cNvPr id="56" name="Group 55">
            <a:extLst>
              <a:ext uri="{FF2B5EF4-FFF2-40B4-BE49-F238E27FC236}">
                <a16:creationId xmlns:a16="http://schemas.microsoft.com/office/drawing/2014/main" id="{BD9D8186-35B1-4718-8FD4-66A96AB53776}"/>
              </a:ext>
            </a:extLst>
          </p:cNvPr>
          <p:cNvGrpSpPr/>
          <p:nvPr/>
        </p:nvGrpSpPr>
        <p:grpSpPr>
          <a:xfrm>
            <a:off x="2895871" y="3661051"/>
            <a:ext cx="986871" cy="1020835"/>
            <a:chOff x="12213580" y="1918868"/>
            <a:chExt cx="1724150" cy="1721281"/>
          </a:xfrm>
          <a:solidFill>
            <a:schemeClr val="accent1"/>
          </a:solidFill>
        </p:grpSpPr>
        <p:sp>
          <p:nvSpPr>
            <p:cNvPr id="57" name="Rectangle: Rounded Corners 56">
              <a:extLst>
                <a:ext uri="{FF2B5EF4-FFF2-40B4-BE49-F238E27FC236}">
                  <a16:creationId xmlns:a16="http://schemas.microsoft.com/office/drawing/2014/main" id="{671BAC28-DEA8-4AEF-A4CA-546292631120}"/>
                </a:ext>
              </a:extLst>
            </p:cNvPr>
            <p:cNvSpPr/>
            <p:nvPr/>
          </p:nvSpPr>
          <p:spPr bwMode="auto">
            <a:xfrm>
              <a:off x="12213580" y="1918868"/>
              <a:ext cx="1724150" cy="1721281"/>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58" name="Rectangle 57">
              <a:extLst>
                <a:ext uri="{FF2B5EF4-FFF2-40B4-BE49-F238E27FC236}">
                  <a16:creationId xmlns:a16="http://schemas.microsoft.com/office/drawing/2014/main" id="{8E6B5A5A-0A2C-44D6-B483-6366E89910AD}"/>
                </a:ext>
              </a:extLst>
            </p:cNvPr>
            <p:cNvSpPr/>
            <p:nvPr/>
          </p:nvSpPr>
          <p:spPr>
            <a:xfrm>
              <a:off x="12290955" y="2312446"/>
              <a:ext cx="1569403" cy="934124"/>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Platform</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ML/BI)</a:t>
              </a:r>
            </a:p>
          </p:txBody>
        </p:sp>
      </p:grpSp>
      <p:grpSp>
        <p:nvGrpSpPr>
          <p:cNvPr id="59" name="Group 58">
            <a:extLst>
              <a:ext uri="{FF2B5EF4-FFF2-40B4-BE49-F238E27FC236}">
                <a16:creationId xmlns:a16="http://schemas.microsoft.com/office/drawing/2014/main" id="{A2B7845F-9956-4A95-83A8-1C1BD56EFBC4}"/>
              </a:ext>
            </a:extLst>
          </p:cNvPr>
          <p:cNvGrpSpPr/>
          <p:nvPr/>
        </p:nvGrpSpPr>
        <p:grpSpPr>
          <a:xfrm>
            <a:off x="3944228" y="3661079"/>
            <a:ext cx="986871" cy="1020835"/>
            <a:chOff x="12011633" y="1918906"/>
            <a:chExt cx="1724150" cy="1721281"/>
          </a:xfrm>
          <a:solidFill>
            <a:schemeClr val="accent1"/>
          </a:solidFill>
        </p:grpSpPr>
        <p:sp>
          <p:nvSpPr>
            <p:cNvPr id="60" name="Rectangle: Rounded Corners 59">
              <a:extLst>
                <a:ext uri="{FF2B5EF4-FFF2-40B4-BE49-F238E27FC236}">
                  <a16:creationId xmlns:a16="http://schemas.microsoft.com/office/drawing/2014/main" id="{54B71A29-C29F-4738-AA11-6098A5DE121F}"/>
                </a:ext>
              </a:extLst>
            </p:cNvPr>
            <p:cNvSpPr/>
            <p:nvPr/>
          </p:nvSpPr>
          <p:spPr bwMode="auto">
            <a:xfrm>
              <a:off x="12011633" y="1918906"/>
              <a:ext cx="1724150" cy="1721281"/>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1" name="Rectangle 60">
              <a:extLst>
                <a:ext uri="{FF2B5EF4-FFF2-40B4-BE49-F238E27FC236}">
                  <a16:creationId xmlns:a16="http://schemas.microsoft.com/office/drawing/2014/main" id="{6217D43A-DDB7-4ADE-A948-D437E528405E}"/>
                </a:ext>
              </a:extLst>
            </p:cNvPr>
            <p:cNvSpPr/>
            <p:nvPr/>
          </p:nvSpPr>
          <p:spPr>
            <a:xfrm>
              <a:off x="12089003" y="2468171"/>
              <a:ext cx="1569403" cy="622749"/>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Off-Chain Storage</a:t>
              </a:r>
            </a:p>
          </p:txBody>
        </p:sp>
      </p:grpSp>
      <p:grpSp>
        <p:nvGrpSpPr>
          <p:cNvPr id="62" name="Group 61">
            <a:extLst>
              <a:ext uri="{FF2B5EF4-FFF2-40B4-BE49-F238E27FC236}">
                <a16:creationId xmlns:a16="http://schemas.microsoft.com/office/drawing/2014/main" id="{0CCADC61-1F21-4AF8-BB2D-A9F96092AFAE}"/>
              </a:ext>
            </a:extLst>
          </p:cNvPr>
          <p:cNvGrpSpPr/>
          <p:nvPr/>
        </p:nvGrpSpPr>
        <p:grpSpPr>
          <a:xfrm>
            <a:off x="4992585" y="3661079"/>
            <a:ext cx="986871" cy="1020835"/>
            <a:chOff x="11809679" y="1918906"/>
            <a:chExt cx="1724150" cy="1721281"/>
          </a:xfrm>
          <a:solidFill>
            <a:schemeClr val="accent1"/>
          </a:solidFill>
        </p:grpSpPr>
        <p:sp>
          <p:nvSpPr>
            <p:cNvPr id="63" name="Rectangle: Rounded Corners 62">
              <a:extLst>
                <a:ext uri="{FF2B5EF4-FFF2-40B4-BE49-F238E27FC236}">
                  <a16:creationId xmlns:a16="http://schemas.microsoft.com/office/drawing/2014/main" id="{50E2B361-E456-4BA1-9208-D27A01ADC7FB}"/>
                </a:ext>
              </a:extLst>
            </p:cNvPr>
            <p:cNvSpPr/>
            <p:nvPr/>
          </p:nvSpPr>
          <p:spPr bwMode="auto">
            <a:xfrm>
              <a:off x="11809679" y="1918906"/>
              <a:ext cx="1724150" cy="1721281"/>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4" name="Rectangle 63">
              <a:extLst>
                <a:ext uri="{FF2B5EF4-FFF2-40B4-BE49-F238E27FC236}">
                  <a16:creationId xmlns:a16="http://schemas.microsoft.com/office/drawing/2014/main" id="{4A7D3472-294A-4135-9590-A8BBBCF0909A}"/>
                </a:ext>
              </a:extLst>
            </p:cNvPr>
            <p:cNvSpPr/>
            <p:nvPr/>
          </p:nvSpPr>
          <p:spPr>
            <a:xfrm>
              <a:off x="11887049" y="2468173"/>
              <a:ext cx="1569403" cy="622749"/>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Monitoring &amp; Security</a:t>
              </a:r>
            </a:p>
          </p:txBody>
        </p:sp>
      </p:grpSp>
      <p:grpSp>
        <p:nvGrpSpPr>
          <p:cNvPr id="65" name="Group 64">
            <a:extLst>
              <a:ext uri="{FF2B5EF4-FFF2-40B4-BE49-F238E27FC236}">
                <a16:creationId xmlns:a16="http://schemas.microsoft.com/office/drawing/2014/main" id="{77637E54-3518-4A99-8323-7CE6223DC8F0}"/>
              </a:ext>
            </a:extLst>
          </p:cNvPr>
          <p:cNvGrpSpPr/>
          <p:nvPr/>
        </p:nvGrpSpPr>
        <p:grpSpPr>
          <a:xfrm>
            <a:off x="6040943" y="3661079"/>
            <a:ext cx="986871" cy="1020835"/>
            <a:chOff x="11569038" y="1918906"/>
            <a:chExt cx="1724150" cy="1721281"/>
          </a:xfrm>
          <a:solidFill>
            <a:schemeClr val="accent1"/>
          </a:solidFill>
        </p:grpSpPr>
        <p:sp>
          <p:nvSpPr>
            <p:cNvPr id="66" name="Rectangle: Rounded Corners 65">
              <a:extLst>
                <a:ext uri="{FF2B5EF4-FFF2-40B4-BE49-F238E27FC236}">
                  <a16:creationId xmlns:a16="http://schemas.microsoft.com/office/drawing/2014/main" id="{5AB88DDE-9051-4847-94B3-12DE6FD1A19F}"/>
                </a:ext>
              </a:extLst>
            </p:cNvPr>
            <p:cNvSpPr/>
            <p:nvPr/>
          </p:nvSpPr>
          <p:spPr bwMode="auto">
            <a:xfrm>
              <a:off x="11569038" y="1918906"/>
              <a:ext cx="1724150" cy="1721281"/>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67" name="Rectangle 66">
              <a:extLst>
                <a:ext uri="{FF2B5EF4-FFF2-40B4-BE49-F238E27FC236}">
                  <a16:creationId xmlns:a16="http://schemas.microsoft.com/office/drawing/2014/main" id="{3D0B8D90-2951-43F9-A782-E034EB34E488}"/>
                </a:ext>
              </a:extLst>
            </p:cNvPr>
            <p:cNvSpPr/>
            <p:nvPr/>
          </p:nvSpPr>
          <p:spPr>
            <a:xfrm>
              <a:off x="11646411" y="2476430"/>
              <a:ext cx="1569405" cy="622749"/>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3</a:t>
              </a:r>
              <a:r>
                <a:rPr kumimoji="0" lang="en-US" sz="1200" b="0" i="0" u="none" strike="noStrike" kern="0" cap="none" spc="0" normalizeH="0" baseline="30000" noProof="0">
                  <a:ln>
                    <a:noFill/>
                  </a:ln>
                  <a:solidFill>
                    <a:srgbClr val="FFFFFF"/>
                  </a:solidFill>
                  <a:effectLst/>
                  <a:uLnTx/>
                  <a:uFillTx/>
                  <a:latin typeface="Segoe UI"/>
                  <a:ea typeface="+mn-ea"/>
                  <a:cs typeface="Segoe UI" panose="020B0502040204020203" pitchFamily="34" charset="0"/>
                </a:rPr>
                <a:t>rd</a:t>
              </a: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 Party</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Services</a:t>
              </a:r>
            </a:p>
          </p:txBody>
        </p:sp>
      </p:grpSp>
      <p:grpSp>
        <p:nvGrpSpPr>
          <p:cNvPr id="68" name="Group 67">
            <a:extLst>
              <a:ext uri="{FF2B5EF4-FFF2-40B4-BE49-F238E27FC236}">
                <a16:creationId xmlns:a16="http://schemas.microsoft.com/office/drawing/2014/main" id="{A79DD90B-D707-4A45-AC84-D952F11ED758}"/>
              </a:ext>
            </a:extLst>
          </p:cNvPr>
          <p:cNvGrpSpPr/>
          <p:nvPr/>
        </p:nvGrpSpPr>
        <p:grpSpPr>
          <a:xfrm>
            <a:off x="1847511" y="3661079"/>
            <a:ext cx="986873" cy="1020835"/>
            <a:chOff x="2524397" y="3526645"/>
            <a:chExt cx="1078140" cy="1076345"/>
          </a:xfrm>
          <a:solidFill>
            <a:schemeClr val="accent1"/>
          </a:solidFill>
        </p:grpSpPr>
        <p:sp>
          <p:nvSpPr>
            <p:cNvPr id="69" name="Rectangle: Rounded Corners 68">
              <a:extLst>
                <a:ext uri="{FF2B5EF4-FFF2-40B4-BE49-F238E27FC236}">
                  <a16:creationId xmlns:a16="http://schemas.microsoft.com/office/drawing/2014/main" id="{BAC6E401-EFEE-41DA-80A6-A84BB3844B93}"/>
                </a:ext>
              </a:extLst>
            </p:cNvPr>
            <p:cNvSpPr/>
            <p:nvPr/>
          </p:nvSpPr>
          <p:spPr bwMode="auto">
            <a:xfrm>
              <a:off x="2524397" y="3526645"/>
              <a:ext cx="1078140" cy="1076345"/>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70" name="Rectangle 69">
              <a:extLst>
                <a:ext uri="{FF2B5EF4-FFF2-40B4-BE49-F238E27FC236}">
                  <a16:creationId xmlns:a16="http://schemas.microsoft.com/office/drawing/2014/main" id="{1AFDA07A-9D72-4EB6-B420-A75211F75D2E}"/>
                </a:ext>
              </a:extLst>
            </p:cNvPr>
            <p:cNvSpPr/>
            <p:nvPr/>
          </p:nvSpPr>
          <p:spPr>
            <a:xfrm>
              <a:off x="2572780" y="3870110"/>
              <a:ext cx="981373" cy="389415"/>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Enterprise Integration</a:t>
              </a:r>
            </a:p>
          </p:txBody>
        </p:sp>
      </p:grpSp>
      <p:pic>
        <p:nvPicPr>
          <p:cNvPr id="42" name="Picture 60">
            <a:extLst>
              <a:ext uri="{FF2B5EF4-FFF2-40B4-BE49-F238E27FC236}">
                <a16:creationId xmlns:a16="http://schemas.microsoft.com/office/drawing/2014/main" id="{C1BB2BA4-71BF-4AC9-8628-697BC7E87F4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16629" y="2627212"/>
            <a:ext cx="474069" cy="348184"/>
          </a:xfrm>
          <a:prstGeom prst="rect">
            <a:avLst/>
          </a:prstGeom>
        </p:spPr>
      </p:pic>
      <p:pic>
        <p:nvPicPr>
          <p:cNvPr id="45" name="Picture 8" descr="https://lh3.googleusercontent.com/-q2M7Q9v6gno/AAAAAAAAAAI/AAAAAAAAEvM/_YWjuQ9Y4gQ/s0-c-k-no-ns/photo.jpg">
            <a:extLst>
              <a:ext uri="{FF2B5EF4-FFF2-40B4-BE49-F238E27FC236}">
                <a16:creationId xmlns:a16="http://schemas.microsoft.com/office/drawing/2014/main" id="{32AA636F-CBBC-4CEF-96EA-93DA6719E99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539327" y="2588368"/>
            <a:ext cx="400545" cy="41733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2EFAFEE1-F89A-469C-97F1-B307F652514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0229" t="32422" r="12335" b="29328"/>
          <a:stretch/>
        </p:blipFill>
        <p:spPr>
          <a:xfrm>
            <a:off x="3175096" y="2706238"/>
            <a:ext cx="456180" cy="168996"/>
          </a:xfrm>
          <a:prstGeom prst="rect">
            <a:avLst/>
          </a:prstGeom>
        </p:spPr>
      </p:pic>
      <p:pic>
        <p:nvPicPr>
          <p:cNvPr id="48" name="Picture 47">
            <a:extLst>
              <a:ext uri="{FF2B5EF4-FFF2-40B4-BE49-F238E27FC236}">
                <a16:creationId xmlns:a16="http://schemas.microsoft.com/office/drawing/2014/main" id="{35069C69-DC56-4D7E-9185-8E556A03AD8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3762" t="17680" r="20176" b="24448"/>
          <a:stretch/>
        </p:blipFill>
        <p:spPr>
          <a:xfrm>
            <a:off x="642891" y="2706632"/>
            <a:ext cx="359104" cy="295550"/>
          </a:xfrm>
          <a:prstGeom prst="rect">
            <a:avLst/>
          </a:prstGeom>
        </p:spPr>
      </p:pic>
      <p:pic>
        <p:nvPicPr>
          <p:cNvPr id="49" name="Picture 48">
            <a:extLst>
              <a:ext uri="{FF2B5EF4-FFF2-40B4-BE49-F238E27FC236}">
                <a16:creationId xmlns:a16="http://schemas.microsoft.com/office/drawing/2014/main" id="{63896FDC-2823-4D95-938E-1E5B3C16FF9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53455" y="2688762"/>
            <a:ext cx="320270" cy="320271"/>
          </a:xfrm>
          <a:prstGeom prst="rect">
            <a:avLst/>
          </a:prstGeom>
        </p:spPr>
      </p:pic>
      <p:pic>
        <p:nvPicPr>
          <p:cNvPr id="50" name="Picture 49">
            <a:extLst>
              <a:ext uri="{FF2B5EF4-FFF2-40B4-BE49-F238E27FC236}">
                <a16:creationId xmlns:a16="http://schemas.microsoft.com/office/drawing/2014/main" id="{1FE6EE21-1063-40F6-BEAC-A4683CF0105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872157" y="2705999"/>
            <a:ext cx="281318" cy="281318"/>
          </a:xfrm>
          <a:prstGeom prst="rect">
            <a:avLst/>
          </a:prstGeom>
        </p:spPr>
      </p:pic>
      <p:sp>
        <p:nvSpPr>
          <p:cNvPr id="77" name="Rectangle 76">
            <a:extLst>
              <a:ext uri="{FF2B5EF4-FFF2-40B4-BE49-F238E27FC236}">
                <a16:creationId xmlns:a16="http://schemas.microsoft.com/office/drawing/2014/main" id="{D21517C6-2CC4-4B4B-B7D3-BCF55A96CC54}"/>
              </a:ext>
            </a:extLst>
          </p:cNvPr>
          <p:cNvSpPr/>
          <p:nvPr/>
        </p:nvSpPr>
        <p:spPr bwMode="auto">
          <a:xfrm>
            <a:off x="586045" y="2172363"/>
            <a:ext cx="4027014" cy="9798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p:txBody>
      </p:sp>
      <p:grpSp>
        <p:nvGrpSpPr>
          <p:cNvPr id="53" name="Group 52">
            <a:extLst>
              <a:ext uri="{FF2B5EF4-FFF2-40B4-BE49-F238E27FC236}">
                <a16:creationId xmlns:a16="http://schemas.microsoft.com/office/drawing/2014/main" id="{D9A59175-C800-46E5-B197-182092F859C2}"/>
              </a:ext>
            </a:extLst>
          </p:cNvPr>
          <p:cNvGrpSpPr/>
          <p:nvPr/>
        </p:nvGrpSpPr>
        <p:grpSpPr>
          <a:xfrm>
            <a:off x="799154" y="3661079"/>
            <a:ext cx="986871" cy="1020835"/>
            <a:chOff x="1552107" y="3526645"/>
            <a:chExt cx="1078139" cy="1076345"/>
          </a:xfrm>
          <a:solidFill>
            <a:schemeClr val="accent1"/>
          </a:solidFill>
        </p:grpSpPr>
        <p:sp>
          <p:nvSpPr>
            <p:cNvPr id="54" name="Rectangle: Rounded Corners 53">
              <a:extLst>
                <a:ext uri="{FF2B5EF4-FFF2-40B4-BE49-F238E27FC236}">
                  <a16:creationId xmlns:a16="http://schemas.microsoft.com/office/drawing/2014/main" id="{DBA8CFE2-EDB9-44C8-9FC6-5A302C5270AE}"/>
                </a:ext>
              </a:extLst>
            </p:cNvPr>
            <p:cNvSpPr/>
            <p:nvPr/>
          </p:nvSpPr>
          <p:spPr bwMode="auto">
            <a:xfrm>
              <a:off x="1552107" y="3526645"/>
              <a:ext cx="1078139" cy="1076345"/>
            </a:xfrm>
            <a:prstGeom prst="rect">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817C20E6-3D1F-4CDA-BE65-4F79BEAED947}"/>
                </a:ext>
              </a:extLst>
            </p:cNvPr>
            <p:cNvSpPr/>
            <p:nvPr/>
          </p:nvSpPr>
          <p:spPr>
            <a:xfrm>
              <a:off x="1600486" y="3777919"/>
              <a:ext cx="981373" cy="584123"/>
            </a:xfrm>
            <a:prstGeom prst="rect">
              <a:avLst/>
            </a:prstGeom>
            <a:noFill/>
          </p:spPr>
          <p:txBody>
            <a:bodyPr wrap="square" lIns="0" tIns="0" rIns="0" bIns="0" anchor="ctr">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Identity </a:t>
              </a:r>
              <a:b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amp; Key Management</a:t>
              </a:r>
            </a:p>
          </p:txBody>
        </p:sp>
      </p:grpSp>
      <p:pic>
        <p:nvPicPr>
          <p:cNvPr id="75" name="Picture 8" descr="Image result for corda logo">
            <a:extLst>
              <a:ext uri="{FF2B5EF4-FFF2-40B4-BE49-F238E27FC236}">
                <a16:creationId xmlns:a16="http://schemas.microsoft.com/office/drawing/2014/main" id="{D9A4593C-7007-47B7-8685-19493AC877AF}"/>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l="9674" t="9674" r="9674" b="9674"/>
          <a:stretch/>
        </p:blipFill>
        <p:spPr bwMode="auto">
          <a:xfrm>
            <a:off x="843438" y="5255676"/>
            <a:ext cx="625940" cy="59688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6" descr="Image result for ethereum logo">
            <a:extLst>
              <a:ext uri="{FF2B5EF4-FFF2-40B4-BE49-F238E27FC236}">
                <a16:creationId xmlns:a16="http://schemas.microsoft.com/office/drawing/2014/main" id="{5223ECA4-2849-45A6-9407-0C38D0AA0187}"/>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1693807" y="5098807"/>
            <a:ext cx="1156074" cy="86869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2E300F9F-2B16-45B2-9684-7A4C6EF051C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857578" y="5415259"/>
            <a:ext cx="947995" cy="284542"/>
          </a:xfrm>
          <a:prstGeom prst="rect">
            <a:avLst/>
          </a:prstGeom>
        </p:spPr>
      </p:pic>
      <p:pic>
        <p:nvPicPr>
          <p:cNvPr id="79" name="Picture 12" descr="Related image">
            <a:extLst>
              <a:ext uri="{FF2B5EF4-FFF2-40B4-BE49-F238E27FC236}">
                <a16:creationId xmlns:a16="http://schemas.microsoft.com/office/drawing/2014/main" id="{85EBAA9E-F138-4E7C-97CF-F7ECB41E264B}"/>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6353107" y="5174754"/>
            <a:ext cx="674708" cy="67470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descr="Image result for hyperledger logo">
            <a:extLst>
              <a:ext uri="{FF2B5EF4-FFF2-40B4-BE49-F238E27FC236}">
                <a16:creationId xmlns:a16="http://schemas.microsoft.com/office/drawing/2014/main" id="{4E1C452D-C5CB-4706-9EE9-DAFF23EAD6FD}"/>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l="15873" r="17687"/>
          <a:stretch/>
        </p:blipFill>
        <p:spPr bwMode="auto">
          <a:xfrm>
            <a:off x="3097858" y="5241590"/>
            <a:ext cx="1299068" cy="566913"/>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17">
            <a:extLst>
              <a:ext uri="{FF2B5EF4-FFF2-40B4-BE49-F238E27FC236}">
                <a16:creationId xmlns:a16="http://schemas.microsoft.com/office/drawing/2014/main" id="{0BAFC5ED-65D7-4DE8-B07C-2491630662FE}"/>
              </a:ext>
            </a:extLst>
          </p:cNvPr>
          <p:cNvSpPr/>
          <p:nvPr/>
        </p:nvSpPr>
        <p:spPr bwMode="auto">
          <a:xfrm>
            <a:off x="4848285" y="2213473"/>
            <a:ext cx="2379467" cy="31001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Client apps &amp; devices</a:t>
            </a:r>
          </a:p>
        </p:txBody>
      </p:sp>
      <p:sp>
        <p:nvSpPr>
          <p:cNvPr id="82" name="Rectangle 81">
            <a:extLst>
              <a:ext uri="{FF2B5EF4-FFF2-40B4-BE49-F238E27FC236}">
                <a16:creationId xmlns:a16="http://schemas.microsoft.com/office/drawing/2014/main" id="{413B08CE-25AE-4954-B463-4080D11002E6}"/>
              </a:ext>
            </a:extLst>
          </p:cNvPr>
          <p:cNvSpPr/>
          <p:nvPr/>
        </p:nvSpPr>
        <p:spPr bwMode="auto">
          <a:xfrm>
            <a:off x="4737592" y="2172363"/>
            <a:ext cx="2667767" cy="97986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p:txBody>
      </p:sp>
      <p:sp>
        <p:nvSpPr>
          <p:cNvPr id="83" name="Round Same Side Corner Rectangle 11">
            <a:extLst>
              <a:ext uri="{FF2B5EF4-FFF2-40B4-BE49-F238E27FC236}">
                <a16:creationId xmlns:a16="http://schemas.microsoft.com/office/drawing/2014/main" id="{FA39E141-92CE-42DB-B5BD-D417E5530AEF}"/>
              </a:ext>
            </a:extLst>
          </p:cNvPr>
          <p:cNvSpPr/>
          <p:nvPr/>
        </p:nvSpPr>
        <p:spPr>
          <a:xfrm>
            <a:off x="5001067" y="2576094"/>
            <a:ext cx="628585" cy="45434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3008C"/>
              </a:solidFill>
              <a:effectLst/>
              <a:uLnTx/>
              <a:uFillTx/>
              <a:latin typeface="Segoe UI"/>
              <a:ea typeface="+mn-ea"/>
              <a:cs typeface="+mn-cs"/>
            </a:endParaRPr>
          </a:p>
        </p:txBody>
      </p:sp>
      <p:sp>
        <p:nvSpPr>
          <p:cNvPr id="84" name="Rounded Rectangle 223">
            <a:extLst>
              <a:ext uri="{FF2B5EF4-FFF2-40B4-BE49-F238E27FC236}">
                <a16:creationId xmlns:a16="http://schemas.microsoft.com/office/drawing/2014/main" id="{0BD498EF-7F6C-46FA-9E32-E2A4077290B1}"/>
              </a:ext>
            </a:extLst>
          </p:cNvPr>
          <p:cNvSpPr/>
          <p:nvPr/>
        </p:nvSpPr>
        <p:spPr bwMode="auto">
          <a:xfrm>
            <a:off x="6014131" y="2570503"/>
            <a:ext cx="264602" cy="465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ounded Rectangle 17">
            <a:extLst>
              <a:ext uri="{FF2B5EF4-FFF2-40B4-BE49-F238E27FC236}">
                <a16:creationId xmlns:a16="http://schemas.microsoft.com/office/drawing/2014/main" id="{0187BB5B-E71D-424B-957B-2A86B0FBE103}"/>
              </a:ext>
            </a:extLst>
          </p:cNvPr>
          <p:cNvSpPr/>
          <p:nvPr/>
        </p:nvSpPr>
        <p:spPr bwMode="auto">
          <a:xfrm>
            <a:off x="2142633" y="4824727"/>
            <a:ext cx="3655320" cy="31001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Enterprise ledger</a:t>
            </a:r>
          </a:p>
        </p:txBody>
      </p:sp>
      <p:sp>
        <p:nvSpPr>
          <p:cNvPr id="88" name="Frame 5">
            <a:extLst>
              <a:ext uri="{FF2B5EF4-FFF2-40B4-BE49-F238E27FC236}">
                <a16:creationId xmlns:a16="http://schemas.microsoft.com/office/drawing/2014/main" id="{552CE691-F805-4315-9523-77DA13E0CD61}"/>
              </a:ext>
            </a:extLst>
          </p:cNvPr>
          <p:cNvSpPr/>
          <p:nvPr/>
        </p:nvSpPr>
        <p:spPr bwMode="auto">
          <a:xfrm>
            <a:off x="6677270" y="2602175"/>
            <a:ext cx="400007" cy="40000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53785" rIns="53785" bIns="107571" numCol="1" spcCol="0" rtlCol="0" fromWordArt="0" anchor="b" anchorCtr="0" forceAA="0" compatLnSpc="1">
            <a:prstTxWarp prst="textNoShape">
              <a:avLst/>
            </a:prstTxWarp>
            <a:noAutofit/>
          </a:bodyPr>
          <a:lstStyle/>
          <a:p>
            <a:pPr marL="0" marR="0" lvl="0" indent="0" algn="ctr" defTabSz="107531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50AFA447-A617-46D0-BD14-A9FB8BCE4DED}"/>
              </a:ext>
            </a:extLst>
          </p:cNvPr>
          <p:cNvCxnSpPr>
            <a:cxnSpLocks/>
          </p:cNvCxnSpPr>
          <p:nvPr/>
        </p:nvCxnSpPr>
        <p:spPr>
          <a:xfrm>
            <a:off x="7792360" y="2172363"/>
            <a:ext cx="0" cy="4018125"/>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838F189-9E25-491C-B13F-900637925FCD}"/>
              </a:ext>
            </a:extLst>
          </p:cNvPr>
          <p:cNvSpPr txBox="1"/>
          <p:nvPr/>
        </p:nvSpPr>
        <p:spPr>
          <a:xfrm>
            <a:off x="8093970" y="1933453"/>
            <a:ext cx="3208251" cy="445968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Workflow execu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Identity &amp; key managemen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Ledger-neutral approach</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Auto-generate starter app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Integration APIs &amp; event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Workflow/user admi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a:ea typeface="+mn-ea"/>
                <a:cs typeface="Segoe UI" panose="020B0502040204020203" pitchFamily="34" charset="0"/>
              </a:rPr>
              <a:t>Azure data integration</a:t>
            </a:r>
          </a:p>
        </p:txBody>
      </p:sp>
      <p:sp>
        <p:nvSpPr>
          <p:cNvPr id="85" name="Rectangle 84">
            <a:extLst>
              <a:ext uri="{FF2B5EF4-FFF2-40B4-BE49-F238E27FC236}">
                <a16:creationId xmlns:a16="http://schemas.microsoft.com/office/drawing/2014/main" id="{6DE22AE1-3540-4204-8DE0-B4939EC8C6E5}"/>
              </a:ext>
            </a:extLst>
          </p:cNvPr>
          <p:cNvSpPr/>
          <p:nvPr/>
        </p:nvSpPr>
        <p:spPr>
          <a:xfrm>
            <a:off x="2072516" y="3196653"/>
            <a:ext cx="3490058" cy="400110"/>
          </a:xfrm>
          <a:prstGeom prst="rect">
            <a:avLst/>
          </a:prstGeom>
        </p:spPr>
        <p:txBody>
          <a:bodyPr wrap="none">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Azure Blockchain Workbench</a:t>
            </a:r>
          </a:p>
        </p:txBody>
      </p:sp>
    </p:spTree>
    <p:extLst>
      <p:ext uri="{BB962C8B-B14F-4D97-AF65-F5344CB8AC3E}">
        <p14:creationId xmlns:p14="http://schemas.microsoft.com/office/powerpoint/2010/main" val="73036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C1F640FD-FBF7-4962-A41D-24FB3DB309B8}"/>
              </a:ext>
            </a:extLst>
          </p:cNvPr>
          <p:cNvSpPr/>
          <p:nvPr/>
        </p:nvSpPr>
        <p:spPr bwMode="auto">
          <a:xfrm>
            <a:off x="2310381" y="1427041"/>
            <a:ext cx="7282543" cy="4280193"/>
          </a:xfrm>
          <a:prstGeom prst="rect">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696EBFB9-E177-42CA-86CD-A07D36777BB5}"/>
              </a:ext>
            </a:extLst>
          </p:cNvPr>
          <p:cNvSpPr/>
          <p:nvPr/>
        </p:nvSpPr>
        <p:spPr bwMode="auto">
          <a:xfrm>
            <a:off x="2310381" y="5785360"/>
            <a:ext cx="7282543" cy="667041"/>
          </a:xfrm>
          <a:prstGeom prst="rect">
            <a:avLst/>
          </a:prstGeom>
          <a:solidFill>
            <a:schemeClr val="bg1">
              <a:lumMod val="95000"/>
            </a:schemeClr>
          </a:solidFill>
          <a:ln w="12700"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1A1A1A"/>
              </a:solidFill>
              <a:effectLst/>
              <a:uLnTx/>
              <a:uFillTx/>
              <a:latin typeface="Segoe UI"/>
              <a:ea typeface="+mn-ea"/>
              <a:cs typeface="Segoe UI" pitchFamily="34" charset="0"/>
            </a:endParaRPr>
          </a:p>
        </p:txBody>
      </p:sp>
      <p:sp>
        <p:nvSpPr>
          <p:cNvPr id="7" name="Title 6">
            <a:extLst>
              <a:ext uri="{FF2B5EF4-FFF2-40B4-BE49-F238E27FC236}">
                <a16:creationId xmlns:a16="http://schemas.microsoft.com/office/drawing/2014/main" id="{D6DA1003-8760-4ACD-9D25-751B60AD8759}"/>
              </a:ext>
            </a:extLst>
          </p:cNvPr>
          <p:cNvSpPr>
            <a:spLocks noGrp="1"/>
          </p:cNvSpPr>
          <p:nvPr>
            <p:ph type="title"/>
          </p:nvPr>
        </p:nvSpPr>
        <p:spPr/>
        <p:txBody>
          <a:bodyPr/>
          <a:lstStyle/>
          <a:p>
            <a:r>
              <a:rPr lang="en-US" sz="3600" dirty="0"/>
              <a:t>With an enterprise-ready, customizable approach</a:t>
            </a:r>
          </a:p>
        </p:txBody>
      </p:sp>
      <p:sp>
        <p:nvSpPr>
          <p:cNvPr id="219" name="Rectangle 218">
            <a:extLst>
              <a:ext uri="{FF2B5EF4-FFF2-40B4-BE49-F238E27FC236}">
                <a16:creationId xmlns:a16="http://schemas.microsoft.com/office/drawing/2014/main" id="{1E1CCCDC-0E4E-455F-B068-797682C84E15}"/>
              </a:ext>
            </a:extLst>
          </p:cNvPr>
          <p:cNvSpPr/>
          <p:nvPr/>
        </p:nvSpPr>
        <p:spPr bwMode="auto">
          <a:xfrm>
            <a:off x="10021691" y="1427041"/>
            <a:ext cx="1584632" cy="42801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Consuming Apps, Services &amp; Systems</a:t>
            </a:r>
          </a:p>
        </p:txBody>
      </p:sp>
      <p:grpSp>
        <p:nvGrpSpPr>
          <p:cNvPr id="9" name="Group 8">
            <a:extLst>
              <a:ext uri="{FF2B5EF4-FFF2-40B4-BE49-F238E27FC236}">
                <a16:creationId xmlns:a16="http://schemas.microsoft.com/office/drawing/2014/main" id="{24BC5272-0391-44D6-A94D-D68B46EC06A2}"/>
              </a:ext>
            </a:extLst>
          </p:cNvPr>
          <p:cNvGrpSpPr/>
          <p:nvPr/>
        </p:nvGrpSpPr>
        <p:grpSpPr>
          <a:xfrm>
            <a:off x="1904166" y="3492694"/>
            <a:ext cx="301470" cy="148887"/>
            <a:chOff x="1798637" y="3316994"/>
            <a:chExt cx="307515" cy="151872"/>
          </a:xfrm>
        </p:grpSpPr>
        <p:cxnSp>
          <p:nvCxnSpPr>
            <p:cNvPr id="156" name="Straight Connector 155">
              <a:extLst>
                <a:ext uri="{FF2B5EF4-FFF2-40B4-BE49-F238E27FC236}">
                  <a16:creationId xmlns:a16="http://schemas.microsoft.com/office/drawing/2014/main" id="{4B24FDA3-9B7D-412E-83CC-703EB76363C4}"/>
                </a:ext>
              </a:extLst>
            </p:cNvPr>
            <p:cNvCxnSpPr>
              <a:cxnSpLocks/>
            </p:cNvCxnSpPr>
            <p:nvPr/>
          </p:nvCxnSpPr>
          <p:spPr>
            <a:xfrm>
              <a:off x="1798637" y="3316994"/>
              <a:ext cx="307514" cy="0"/>
            </a:xfrm>
            <a:prstGeom prst="line">
              <a:avLst/>
            </a:prstGeom>
            <a:noFill/>
            <a:ln w="6350" cap="flat" cmpd="sng" algn="ctr">
              <a:solidFill>
                <a:schemeClr val="accent1"/>
              </a:solidFill>
              <a:prstDash val="solid"/>
              <a:headEnd type="triangle" w="med" len="med"/>
              <a:tailEnd type="none" w="med" len="med"/>
            </a:ln>
            <a:effectLst/>
          </p:spPr>
        </p:cxnSp>
        <p:cxnSp>
          <p:nvCxnSpPr>
            <p:cNvPr id="158" name="Straight Connector 157">
              <a:extLst>
                <a:ext uri="{FF2B5EF4-FFF2-40B4-BE49-F238E27FC236}">
                  <a16:creationId xmlns:a16="http://schemas.microsoft.com/office/drawing/2014/main" id="{FBE6FA0B-EC28-4D67-A344-22CD9934ADCC}"/>
                </a:ext>
              </a:extLst>
            </p:cNvPr>
            <p:cNvCxnSpPr>
              <a:cxnSpLocks/>
            </p:cNvCxnSpPr>
            <p:nvPr/>
          </p:nvCxnSpPr>
          <p:spPr>
            <a:xfrm flipH="1">
              <a:off x="1798637" y="3468866"/>
              <a:ext cx="307515" cy="0"/>
            </a:xfrm>
            <a:prstGeom prst="line">
              <a:avLst/>
            </a:prstGeom>
            <a:noFill/>
            <a:ln w="6350" cap="flat" cmpd="sng" algn="ctr">
              <a:solidFill>
                <a:schemeClr val="accent1"/>
              </a:solidFill>
              <a:prstDash val="solid"/>
              <a:headEnd type="triangle" w="med" len="med"/>
              <a:tailEnd type="none" w="med" len="med"/>
            </a:ln>
            <a:effectLst/>
          </p:spPr>
        </p:cxnSp>
      </p:grpSp>
      <p:sp>
        <p:nvSpPr>
          <p:cNvPr id="109" name="Rectangle 180">
            <a:extLst>
              <a:ext uri="{FF2B5EF4-FFF2-40B4-BE49-F238E27FC236}">
                <a16:creationId xmlns:a16="http://schemas.microsoft.com/office/drawing/2014/main" id="{029BAA73-52D3-4423-8D11-EDE3EF4628D0}"/>
              </a:ext>
            </a:extLst>
          </p:cNvPr>
          <p:cNvSpPr>
            <a:spLocks noChangeArrowheads="1"/>
          </p:cNvSpPr>
          <p:nvPr/>
        </p:nvSpPr>
        <p:spPr bwMode="auto">
          <a:xfrm>
            <a:off x="5957488" y="6184226"/>
            <a:ext cx="133690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pplication Insights</a:t>
            </a:r>
            <a:endParaRPr kumimoji="0" lang="en-US" altLang="en-US" sz="2000" b="0" i="0" u="none" strike="noStrike" kern="0" cap="none" spc="0" normalizeH="0" baseline="0" noProof="0">
              <a:ln>
                <a:noFill/>
              </a:ln>
              <a:solidFill>
                <a:srgbClr val="1A1A1A"/>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0C3297FA-EF01-4581-B4E5-C64C2EC3A646}"/>
              </a:ext>
            </a:extLst>
          </p:cNvPr>
          <p:cNvGrpSpPr/>
          <p:nvPr/>
        </p:nvGrpSpPr>
        <p:grpSpPr>
          <a:xfrm>
            <a:off x="6498835" y="5857265"/>
            <a:ext cx="182360" cy="273715"/>
            <a:chOff x="-6196013" y="1657350"/>
            <a:chExt cx="4132263" cy="6202363"/>
          </a:xfrm>
          <a:solidFill>
            <a:schemeClr val="accent1"/>
          </a:solidFill>
        </p:grpSpPr>
        <p:sp>
          <p:nvSpPr>
            <p:cNvPr id="113" name="Freeform 46">
              <a:extLst>
                <a:ext uri="{FF2B5EF4-FFF2-40B4-BE49-F238E27FC236}">
                  <a16:creationId xmlns:a16="http://schemas.microsoft.com/office/drawing/2014/main" id="{3F9D86C8-D735-44C8-AA37-BCEEEA901AE7}"/>
                </a:ext>
              </a:extLst>
            </p:cNvPr>
            <p:cNvSpPr>
              <a:spLocks/>
            </p:cNvSpPr>
            <p:nvPr/>
          </p:nvSpPr>
          <p:spPr bwMode="auto">
            <a:xfrm>
              <a:off x="-4799013" y="6545263"/>
              <a:ext cx="1317625" cy="419100"/>
            </a:xfrm>
            <a:custGeom>
              <a:avLst/>
              <a:gdLst>
                <a:gd name="T0" fmla="*/ 217 w 435"/>
                <a:gd name="T1" fmla="*/ 137 h 138"/>
                <a:gd name="T2" fmla="*/ 21 w 435"/>
                <a:gd name="T3" fmla="*/ 138 h 138"/>
                <a:gd name="T4" fmla="*/ 1 w 435"/>
                <a:gd name="T5" fmla="*/ 116 h 138"/>
                <a:gd name="T6" fmla="*/ 1 w 435"/>
                <a:gd name="T7" fmla="*/ 16 h 138"/>
                <a:gd name="T8" fmla="*/ 18 w 435"/>
                <a:gd name="T9" fmla="*/ 0 h 138"/>
                <a:gd name="T10" fmla="*/ 417 w 435"/>
                <a:gd name="T11" fmla="*/ 0 h 138"/>
                <a:gd name="T12" fmla="*/ 434 w 435"/>
                <a:gd name="T13" fmla="*/ 16 h 138"/>
                <a:gd name="T14" fmla="*/ 434 w 435"/>
                <a:gd name="T15" fmla="*/ 122 h 138"/>
                <a:gd name="T16" fmla="*/ 419 w 435"/>
                <a:gd name="T17" fmla="*/ 137 h 138"/>
                <a:gd name="T18" fmla="*/ 217 w 435"/>
                <a:gd name="T19" fmla="*/ 13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138">
                  <a:moveTo>
                    <a:pt x="217" y="137"/>
                  </a:moveTo>
                  <a:cubicBezTo>
                    <a:pt x="152" y="137"/>
                    <a:pt x="86" y="136"/>
                    <a:pt x="21" y="138"/>
                  </a:cubicBezTo>
                  <a:cubicBezTo>
                    <a:pt x="4" y="138"/>
                    <a:pt x="0" y="132"/>
                    <a:pt x="1" y="116"/>
                  </a:cubicBezTo>
                  <a:cubicBezTo>
                    <a:pt x="2" y="83"/>
                    <a:pt x="2" y="50"/>
                    <a:pt x="1" y="16"/>
                  </a:cubicBezTo>
                  <a:cubicBezTo>
                    <a:pt x="0" y="3"/>
                    <a:pt x="5" y="0"/>
                    <a:pt x="18" y="0"/>
                  </a:cubicBezTo>
                  <a:cubicBezTo>
                    <a:pt x="151" y="0"/>
                    <a:pt x="284" y="0"/>
                    <a:pt x="417" y="0"/>
                  </a:cubicBezTo>
                  <a:cubicBezTo>
                    <a:pt x="429" y="0"/>
                    <a:pt x="435" y="2"/>
                    <a:pt x="434" y="16"/>
                  </a:cubicBezTo>
                  <a:cubicBezTo>
                    <a:pt x="433" y="51"/>
                    <a:pt x="433" y="86"/>
                    <a:pt x="434" y="122"/>
                  </a:cubicBezTo>
                  <a:cubicBezTo>
                    <a:pt x="435" y="134"/>
                    <a:pt x="431" y="137"/>
                    <a:pt x="419" y="137"/>
                  </a:cubicBezTo>
                  <a:cubicBezTo>
                    <a:pt x="351" y="137"/>
                    <a:pt x="284" y="137"/>
                    <a:pt x="217"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47">
              <a:extLst>
                <a:ext uri="{FF2B5EF4-FFF2-40B4-BE49-F238E27FC236}">
                  <a16:creationId xmlns:a16="http://schemas.microsoft.com/office/drawing/2014/main" id="{D1208B9B-A3BD-4D30-B619-BA2060AE6E2B}"/>
                </a:ext>
              </a:extLst>
            </p:cNvPr>
            <p:cNvSpPr>
              <a:spLocks/>
            </p:cNvSpPr>
            <p:nvPr/>
          </p:nvSpPr>
          <p:spPr bwMode="auto">
            <a:xfrm>
              <a:off x="-4795838" y="7423150"/>
              <a:ext cx="1301750" cy="436563"/>
            </a:xfrm>
            <a:custGeom>
              <a:avLst/>
              <a:gdLst>
                <a:gd name="T0" fmla="*/ 0 w 430"/>
                <a:gd name="T1" fmla="*/ 0 h 144"/>
                <a:gd name="T2" fmla="*/ 22 w 430"/>
                <a:gd name="T3" fmla="*/ 0 h 144"/>
                <a:gd name="T4" fmla="*/ 430 w 430"/>
                <a:gd name="T5" fmla="*/ 0 h 144"/>
                <a:gd name="T6" fmla="*/ 395 w 430"/>
                <a:gd name="T7" fmla="*/ 36 h 144"/>
                <a:gd name="T8" fmla="*/ 306 w 430"/>
                <a:gd name="T9" fmla="*/ 133 h 144"/>
                <a:gd name="T10" fmla="*/ 282 w 430"/>
                <a:gd name="T11" fmla="*/ 144 h 144"/>
                <a:gd name="T12" fmla="*/ 148 w 430"/>
                <a:gd name="T13" fmla="*/ 144 h 144"/>
                <a:gd name="T14" fmla="*/ 127 w 430"/>
                <a:gd name="T15" fmla="*/ 136 h 144"/>
                <a:gd name="T16" fmla="*/ 0 w 430"/>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144">
                  <a:moveTo>
                    <a:pt x="0" y="0"/>
                  </a:moveTo>
                  <a:cubicBezTo>
                    <a:pt x="10" y="0"/>
                    <a:pt x="16" y="0"/>
                    <a:pt x="22" y="0"/>
                  </a:cubicBezTo>
                  <a:cubicBezTo>
                    <a:pt x="156" y="0"/>
                    <a:pt x="291" y="0"/>
                    <a:pt x="430" y="0"/>
                  </a:cubicBezTo>
                  <a:cubicBezTo>
                    <a:pt x="417" y="14"/>
                    <a:pt x="406" y="25"/>
                    <a:pt x="395" y="36"/>
                  </a:cubicBezTo>
                  <a:cubicBezTo>
                    <a:pt x="365" y="69"/>
                    <a:pt x="335" y="101"/>
                    <a:pt x="306" y="133"/>
                  </a:cubicBezTo>
                  <a:cubicBezTo>
                    <a:pt x="299" y="140"/>
                    <a:pt x="292" y="144"/>
                    <a:pt x="282" y="144"/>
                  </a:cubicBezTo>
                  <a:cubicBezTo>
                    <a:pt x="237" y="143"/>
                    <a:pt x="193" y="143"/>
                    <a:pt x="148" y="144"/>
                  </a:cubicBezTo>
                  <a:cubicBezTo>
                    <a:pt x="140" y="144"/>
                    <a:pt x="133" y="143"/>
                    <a:pt x="127" y="136"/>
                  </a:cubicBezTo>
                  <a:cubicBezTo>
                    <a:pt x="86" y="91"/>
                    <a:pt x="44" y="4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48">
              <a:extLst>
                <a:ext uri="{FF2B5EF4-FFF2-40B4-BE49-F238E27FC236}">
                  <a16:creationId xmlns:a16="http://schemas.microsoft.com/office/drawing/2014/main" id="{F324A05B-413A-42D5-8BC8-A9EDA3A18F6C}"/>
                </a:ext>
              </a:extLst>
            </p:cNvPr>
            <p:cNvSpPr>
              <a:spLocks/>
            </p:cNvSpPr>
            <p:nvPr/>
          </p:nvSpPr>
          <p:spPr bwMode="auto">
            <a:xfrm>
              <a:off x="-3824288" y="3776663"/>
              <a:ext cx="442913" cy="442913"/>
            </a:xfrm>
            <a:custGeom>
              <a:avLst/>
              <a:gdLst>
                <a:gd name="T0" fmla="*/ 104 w 146"/>
                <a:gd name="T1" fmla="*/ 14 h 146"/>
                <a:gd name="T2" fmla="*/ 24 w 146"/>
                <a:gd name="T3" fmla="*/ 27 h 146"/>
                <a:gd name="T4" fmla="*/ 0 w 146"/>
                <a:gd name="T5" fmla="*/ 100 h 146"/>
                <a:gd name="T6" fmla="*/ 46 w 146"/>
                <a:gd name="T7" fmla="*/ 145 h 146"/>
                <a:gd name="T8" fmla="*/ 80 w 146"/>
                <a:gd name="T9" fmla="*/ 145 h 146"/>
                <a:gd name="T10" fmla="*/ 140 w 146"/>
                <a:gd name="T11" fmla="*/ 90 h 146"/>
                <a:gd name="T12" fmla="*/ 104 w 146"/>
                <a:gd name="T13" fmla="*/ 14 h 146"/>
              </a:gdLst>
              <a:ahLst/>
              <a:cxnLst>
                <a:cxn ang="0">
                  <a:pos x="T0" y="T1"/>
                </a:cxn>
                <a:cxn ang="0">
                  <a:pos x="T2" y="T3"/>
                </a:cxn>
                <a:cxn ang="0">
                  <a:pos x="T4" y="T5"/>
                </a:cxn>
                <a:cxn ang="0">
                  <a:pos x="T6" y="T7"/>
                </a:cxn>
                <a:cxn ang="0">
                  <a:pos x="T8" y="T9"/>
                </a:cxn>
                <a:cxn ang="0">
                  <a:pos x="T10" y="T11"/>
                </a:cxn>
                <a:cxn ang="0">
                  <a:pos x="T12" y="T13"/>
                </a:cxn>
              </a:cxnLst>
              <a:rect l="0" t="0" r="r" b="b"/>
              <a:pathLst>
                <a:path w="146" h="146">
                  <a:moveTo>
                    <a:pt x="104" y="14"/>
                  </a:moveTo>
                  <a:cubicBezTo>
                    <a:pt x="78" y="0"/>
                    <a:pt x="46" y="5"/>
                    <a:pt x="24" y="27"/>
                  </a:cubicBezTo>
                  <a:cubicBezTo>
                    <a:pt x="2" y="47"/>
                    <a:pt x="0" y="73"/>
                    <a:pt x="0" y="100"/>
                  </a:cubicBezTo>
                  <a:cubicBezTo>
                    <a:pt x="1" y="146"/>
                    <a:pt x="1" y="146"/>
                    <a:pt x="46" y="145"/>
                  </a:cubicBezTo>
                  <a:cubicBezTo>
                    <a:pt x="57" y="145"/>
                    <a:pt x="69" y="146"/>
                    <a:pt x="80" y="145"/>
                  </a:cubicBezTo>
                  <a:cubicBezTo>
                    <a:pt x="109" y="142"/>
                    <a:pt x="135" y="118"/>
                    <a:pt x="140" y="90"/>
                  </a:cubicBezTo>
                  <a:cubicBezTo>
                    <a:pt x="146" y="58"/>
                    <a:pt x="132" y="28"/>
                    <a:pt x="10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49">
              <a:extLst>
                <a:ext uri="{FF2B5EF4-FFF2-40B4-BE49-F238E27FC236}">
                  <a16:creationId xmlns:a16="http://schemas.microsoft.com/office/drawing/2014/main" id="{1E58C9C0-8C74-4448-9F53-CCF127F48D8A}"/>
                </a:ext>
              </a:extLst>
            </p:cNvPr>
            <p:cNvSpPr>
              <a:spLocks/>
            </p:cNvSpPr>
            <p:nvPr/>
          </p:nvSpPr>
          <p:spPr bwMode="auto">
            <a:xfrm>
              <a:off x="-4959350" y="3773488"/>
              <a:ext cx="454025" cy="446088"/>
            </a:xfrm>
            <a:custGeom>
              <a:avLst/>
              <a:gdLst>
                <a:gd name="T0" fmla="*/ 52 w 150"/>
                <a:gd name="T1" fmla="*/ 10 h 147"/>
                <a:gd name="T2" fmla="*/ 4 w 150"/>
                <a:gd name="T3" fmla="*/ 83 h 147"/>
                <a:gd name="T4" fmla="*/ 66 w 150"/>
                <a:gd name="T5" fmla="*/ 146 h 147"/>
                <a:gd name="T6" fmla="*/ 100 w 150"/>
                <a:gd name="T7" fmla="*/ 146 h 147"/>
                <a:gd name="T8" fmla="*/ 100 w 150"/>
                <a:gd name="T9" fmla="*/ 147 h 147"/>
                <a:gd name="T10" fmla="*/ 132 w 150"/>
                <a:gd name="T11" fmla="*/ 147 h 147"/>
                <a:gd name="T12" fmla="*/ 143 w 150"/>
                <a:gd name="T13" fmla="*/ 140 h 147"/>
                <a:gd name="T14" fmla="*/ 132 w 150"/>
                <a:gd name="T15" fmla="*/ 42 h 147"/>
                <a:gd name="T16" fmla="*/ 52 w 150"/>
                <a:gd name="T17" fmla="*/ 1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47">
                  <a:moveTo>
                    <a:pt x="52" y="10"/>
                  </a:moveTo>
                  <a:cubicBezTo>
                    <a:pt x="22" y="21"/>
                    <a:pt x="0" y="53"/>
                    <a:pt x="4" y="83"/>
                  </a:cubicBezTo>
                  <a:cubicBezTo>
                    <a:pt x="8" y="115"/>
                    <a:pt x="35" y="143"/>
                    <a:pt x="66" y="146"/>
                  </a:cubicBezTo>
                  <a:cubicBezTo>
                    <a:pt x="77" y="147"/>
                    <a:pt x="89" y="146"/>
                    <a:pt x="100" y="146"/>
                  </a:cubicBezTo>
                  <a:cubicBezTo>
                    <a:pt x="100" y="146"/>
                    <a:pt x="100" y="147"/>
                    <a:pt x="100" y="147"/>
                  </a:cubicBezTo>
                  <a:cubicBezTo>
                    <a:pt x="111" y="147"/>
                    <a:pt x="121" y="147"/>
                    <a:pt x="132" y="147"/>
                  </a:cubicBezTo>
                  <a:cubicBezTo>
                    <a:pt x="137" y="147"/>
                    <a:pt x="144" y="147"/>
                    <a:pt x="143" y="140"/>
                  </a:cubicBezTo>
                  <a:cubicBezTo>
                    <a:pt x="142" y="107"/>
                    <a:pt x="150" y="73"/>
                    <a:pt x="132" y="42"/>
                  </a:cubicBezTo>
                  <a:cubicBezTo>
                    <a:pt x="114" y="13"/>
                    <a:pt x="83" y="0"/>
                    <a:pt x="5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50">
              <a:extLst>
                <a:ext uri="{FF2B5EF4-FFF2-40B4-BE49-F238E27FC236}">
                  <a16:creationId xmlns:a16="http://schemas.microsoft.com/office/drawing/2014/main" id="{04D14803-B1AC-47DE-93DA-7F78F1EEFAFC}"/>
                </a:ext>
              </a:extLst>
            </p:cNvPr>
            <p:cNvSpPr>
              <a:spLocks noEditPoints="1"/>
            </p:cNvSpPr>
            <p:nvPr/>
          </p:nvSpPr>
          <p:spPr bwMode="auto">
            <a:xfrm>
              <a:off x="-6196013" y="1657350"/>
              <a:ext cx="4132263" cy="4432300"/>
            </a:xfrm>
            <a:custGeom>
              <a:avLst/>
              <a:gdLst>
                <a:gd name="T0" fmla="*/ 1331 w 1364"/>
                <a:gd name="T1" fmla="*/ 507 h 1460"/>
                <a:gd name="T2" fmla="*/ 1066 w 1364"/>
                <a:gd name="T3" fmla="*/ 107 h 1460"/>
                <a:gd name="T4" fmla="*/ 710 w 1364"/>
                <a:gd name="T5" fmla="*/ 4 h 1460"/>
                <a:gd name="T6" fmla="*/ 462 w 1364"/>
                <a:gd name="T7" fmla="*/ 27 h 1460"/>
                <a:gd name="T8" fmla="*/ 80 w 1364"/>
                <a:gd name="T9" fmla="*/ 314 h 1460"/>
                <a:gd name="T10" fmla="*/ 5 w 1364"/>
                <a:gd name="T11" fmla="*/ 580 h 1460"/>
                <a:gd name="T12" fmla="*/ 65 w 1364"/>
                <a:gd name="T13" fmla="*/ 849 h 1460"/>
                <a:gd name="T14" fmla="*/ 196 w 1364"/>
                <a:gd name="T15" fmla="*/ 1006 h 1460"/>
                <a:gd name="T16" fmla="*/ 359 w 1364"/>
                <a:gd name="T17" fmla="*/ 1236 h 1460"/>
                <a:gd name="T18" fmla="*/ 437 w 1364"/>
                <a:gd name="T19" fmla="*/ 1430 h 1460"/>
                <a:gd name="T20" fmla="*/ 476 w 1364"/>
                <a:gd name="T21" fmla="*/ 1459 h 1460"/>
                <a:gd name="T22" fmla="*/ 668 w 1364"/>
                <a:gd name="T23" fmla="*/ 1459 h 1460"/>
                <a:gd name="T24" fmla="*/ 862 w 1364"/>
                <a:gd name="T25" fmla="*/ 1459 h 1460"/>
                <a:gd name="T26" fmla="*/ 899 w 1364"/>
                <a:gd name="T27" fmla="*/ 1432 h 1460"/>
                <a:gd name="T28" fmla="*/ 1011 w 1364"/>
                <a:gd name="T29" fmla="*/ 1182 h 1460"/>
                <a:gd name="T30" fmla="*/ 1153 w 1364"/>
                <a:gd name="T31" fmla="*/ 998 h 1460"/>
                <a:gd name="T32" fmla="*/ 1331 w 1364"/>
                <a:gd name="T33" fmla="*/ 507 h 1460"/>
                <a:gd name="T34" fmla="*/ 859 w 1364"/>
                <a:gd name="T35" fmla="*/ 922 h 1460"/>
                <a:gd name="T36" fmla="*/ 803 w 1364"/>
                <a:gd name="T37" fmla="*/ 922 h 1460"/>
                <a:gd name="T38" fmla="*/ 783 w 1364"/>
                <a:gd name="T39" fmla="*/ 942 h 1460"/>
                <a:gd name="T40" fmla="*/ 784 w 1364"/>
                <a:gd name="T41" fmla="*/ 1412 h 1460"/>
                <a:gd name="T42" fmla="*/ 758 w 1364"/>
                <a:gd name="T43" fmla="*/ 1439 h 1460"/>
                <a:gd name="T44" fmla="*/ 707 w 1364"/>
                <a:gd name="T45" fmla="*/ 1436 h 1460"/>
                <a:gd name="T46" fmla="*/ 703 w 1364"/>
                <a:gd name="T47" fmla="*/ 1384 h 1460"/>
                <a:gd name="T48" fmla="*/ 703 w 1364"/>
                <a:gd name="T49" fmla="*/ 1180 h 1460"/>
                <a:gd name="T50" fmla="*/ 704 w 1364"/>
                <a:gd name="T51" fmla="*/ 940 h 1460"/>
                <a:gd name="T52" fmla="*/ 685 w 1364"/>
                <a:gd name="T53" fmla="*/ 922 h 1460"/>
                <a:gd name="T54" fmla="*/ 634 w 1364"/>
                <a:gd name="T55" fmla="*/ 972 h 1460"/>
                <a:gd name="T56" fmla="*/ 633 w 1364"/>
                <a:gd name="T57" fmla="*/ 1410 h 1460"/>
                <a:gd name="T58" fmla="*/ 607 w 1364"/>
                <a:gd name="T59" fmla="*/ 1435 h 1460"/>
                <a:gd name="T60" fmla="*/ 571 w 1364"/>
                <a:gd name="T61" fmla="*/ 1435 h 1460"/>
                <a:gd name="T62" fmla="*/ 552 w 1364"/>
                <a:gd name="T63" fmla="*/ 1415 h 1460"/>
                <a:gd name="T64" fmla="*/ 552 w 1364"/>
                <a:gd name="T65" fmla="*/ 1008 h 1460"/>
                <a:gd name="T66" fmla="*/ 552 w 1364"/>
                <a:gd name="T67" fmla="*/ 936 h 1460"/>
                <a:gd name="T68" fmla="*/ 538 w 1364"/>
                <a:gd name="T69" fmla="*/ 922 h 1460"/>
                <a:gd name="T70" fmla="*/ 457 w 1364"/>
                <a:gd name="T71" fmla="*/ 919 h 1460"/>
                <a:gd name="T72" fmla="*/ 331 w 1364"/>
                <a:gd name="T73" fmla="*/ 759 h 1460"/>
                <a:gd name="T74" fmla="*/ 472 w 1364"/>
                <a:gd name="T75" fmla="*/ 620 h 1460"/>
                <a:gd name="T76" fmla="*/ 633 w 1364"/>
                <a:gd name="T77" fmla="*/ 774 h 1460"/>
                <a:gd name="T78" fmla="*/ 633 w 1364"/>
                <a:gd name="T79" fmla="*/ 826 h 1460"/>
                <a:gd name="T80" fmla="*/ 647 w 1364"/>
                <a:gd name="T81" fmla="*/ 840 h 1460"/>
                <a:gd name="T82" fmla="*/ 703 w 1364"/>
                <a:gd name="T83" fmla="*/ 787 h 1460"/>
                <a:gd name="T84" fmla="*/ 828 w 1364"/>
                <a:gd name="T85" fmla="*/ 622 h 1460"/>
                <a:gd name="T86" fmla="*/ 1003 w 1364"/>
                <a:gd name="T87" fmla="*/ 746 h 1460"/>
                <a:gd name="T88" fmla="*/ 859 w 1364"/>
                <a:gd name="T89" fmla="*/ 922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4" h="1460">
                  <a:moveTo>
                    <a:pt x="1331" y="507"/>
                  </a:moveTo>
                  <a:cubicBezTo>
                    <a:pt x="1303" y="334"/>
                    <a:pt x="1210" y="203"/>
                    <a:pt x="1066" y="107"/>
                  </a:cubicBezTo>
                  <a:cubicBezTo>
                    <a:pt x="958" y="36"/>
                    <a:pt x="836" y="10"/>
                    <a:pt x="710" y="4"/>
                  </a:cubicBezTo>
                  <a:cubicBezTo>
                    <a:pt x="627" y="0"/>
                    <a:pt x="543" y="5"/>
                    <a:pt x="462" y="27"/>
                  </a:cubicBezTo>
                  <a:cubicBezTo>
                    <a:pt x="296" y="71"/>
                    <a:pt x="167" y="165"/>
                    <a:pt x="80" y="314"/>
                  </a:cubicBezTo>
                  <a:cubicBezTo>
                    <a:pt x="32" y="396"/>
                    <a:pt x="10" y="485"/>
                    <a:pt x="5" y="580"/>
                  </a:cubicBezTo>
                  <a:cubicBezTo>
                    <a:pt x="0" y="676"/>
                    <a:pt x="19" y="765"/>
                    <a:pt x="65" y="849"/>
                  </a:cubicBezTo>
                  <a:cubicBezTo>
                    <a:pt x="98" y="909"/>
                    <a:pt x="143" y="961"/>
                    <a:pt x="196" y="1006"/>
                  </a:cubicBezTo>
                  <a:cubicBezTo>
                    <a:pt x="269" y="1069"/>
                    <a:pt x="316" y="1152"/>
                    <a:pt x="359" y="1236"/>
                  </a:cubicBezTo>
                  <a:cubicBezTo>
                    <a:pt x="390" y="1298"/>
                    <a:pt x="420" y="1362"/>
                    <a:pt x="437" y="1430"/>
                  </a:cubicBezTo>
                  <a:cubicBezTo>
                    <a:pt x="442" y="1449"/>
                    <a:pt x="452" y="1460"/>
                    <a:pt x="476" y="1459"/>
                  </a:cubicBezTo>
                  <a:cubicBezTo>
                    <a:pt x="540" y="1457"/>
                    <a:pt x="604" y="1459"/>
                    <a:pt x="668" y="1459"/>
                  </a:cubicBezTo>
                  <a:cubicBezTo>
                    <a:pt x="733" y="1459"/>
                    <a:pt x="797" y="1457"/>
                    <a:pt x="862" y="1459"/>
                  </a:cubicBezTo>
                  <a:cubicBezTo>
                    <a:pt x="884" y="1460"/>
                    <a:pt x="894" y="1450"/>
                    <a:pt x="899" y="1432"/>
                  </a:cubicBezTo>
                  <a:cubicBezTo>
                    <a:pt x="925" y="1344"/>
                    <a:pt x="966" y="1262"/>
                    <a:pt x="1011" y="1182"/>
                  </a:cubicBezTo>
                  <a:cubicBezTo>
                    <a:pt x="1050" y="1114"/>
                    <a:pt x="1094" y="1051"/>
                    <a:pt x="1153" y="998"/>
                  </a:cubicBezTo>
                  <a:cubicBezTo>
                    <a:pt x="1300" y="867"/>
                    <a:pt x="1364" y="704"/>
                    <a:pt x="1331" y="507"/>
                  </a:cubicBezTo>
                  <a:close/>
                  <a:moveTo>
                    <a:pt x="859" y="922"/>
                  </a:moveTo>
                  <a:cubicBezTo>
                    <a:pt x="840" y="922"/>
                    <a:pt x="821" y="923"/>
                    <a:pt x="803" y="922"/>
                  </a:cubicBezTo>
                  <a:cubicBezTo>
                    <a:pt x="786" y="920"/>
                    <a:pt x="783" y="927"/>
                    <a:pt x="783" y="942"/>
                  </a:cubicBezTo>
                  <a:cubicBezTo>
                    <a:pt x="784" y="1099"/>
                    <a:pt x="784" y="1255"/>
                    <a:pt x="784" y="1412"/>
                  </a:cubicBezTo>
                  <a:cubicBezTo>
                    <a:pt x="784" y="1439"/>
                    <a:pt x="784" y="1439"/>
                    <a:pt x="758" y="1439"/>
                  </a:cubicBezTo>
                  <a:cubicBezTo>
                    <a:pt x="740" y="1438"/>
                    <a:pt x="718" y="1444"/>
                    <a:pt x="707" y="1436"/>
                  </a:cubicBezTo>
                  <a:cubicBezTo>
                    <a:pt x="695" y="1425"/>
                    <a:pt x="704" y="1402"/>
                    <a:pt x="703" y="1384"/>
                  </a:cubicBezTo>
                  <a:cubicBezTo>
                    <a:pt x="703" y="1316"/>
                    <a:pt x="703" y="1248"/>
                    <a:pt x="703" y="1180"/>
                  </a:cubicBezTo>
                  <a:cubicBezTo>
                    <a:pt x="703" y="1100"/>
                    <a:pt x="703" y="1020"/>
                    <a:pt x="704" y="940"/>
                  </a:cubicBezTo>
                  <a:cubicBezTo>
                    <a:pt x="704" y="925"/>
                    <a:pt x="699" y="922"/>
                    <a:pt x="685" y="922"/>
                  </a:cubicBezTo>
                  <a:cubicBezTo>
                    <a:pt x="634" y="922"/>
                    <a:pt x="634" y="922"/>
                    <a:pt x="634" y="972"/>
                  </a:cubicBezTo>
                  <a:cubicBezTo>
                    <a:pt x="634" y="1118"/>
                    <a:pt x="634" y="1264"/>
                    <a:pt x="633" y="1410"/>
                  </a:cubicBezTo>
                  <a:cubicBezTo>
                    <a:pt x="633" y="1439"/>
                    <a:pt x="636" y="1435"/>
                    <a:pt x="607" y="1435"/>
                  </a:cubicBezTo>
                  <a:cubicBezTo>
                    <a:pt x="595" y="1435"/>
                    <a:pt x="583" y="1434"/>
                    <a:pt x="571" y="1435"/>
                  </a:cubicBezTo>
                  <a:cubicBezTo>
                    <a:pt x="555" y="1437"/>
                    <a:pt x="552" y="1431"/>
                    <a:pt x="552" y="1415"/>
                  </a:cubicBezTo>
                  <a:cubicBezTo>
                    <a:pt x="552" y="1279"/>
                    <a:pt x="552" y="1144"/>
                    <a:pt x="552" y="1008"/>
                  </a:cubicBezTo>
                  <a:cubicBezTo>
                    <a:pt x="552" y="984"/>
                    <a:pt x="552" y="960"/>
                    <a:pt x="552" y="936"/>
                  </a:cubicBezTo>
                  <a:cubicBezTo>
                    <a:pt x="552" y="925"/>
                    <a:pt x="549" y="922"/>
                    <a:pt x="538" y="922"/>
                  </a:cubicBezTo>
                  <a:cubicBezTo>
                    <a:pt x="511" y="921"/>
                    <a:pt x="484" y="925"/>
                    <a:pt x="457" y="919"/>
                  </a:cubicBezTo>
                  <a:cubicBezTo>
                    <a:pt x="380" y="903"/>
                    <a:pt x="327" y="835"/>
                    <a:pt x="331" y="759"/>
                  </a:cubicBezTo>
                  <a:cubicBezTo>
                    <a:pt x="335" y="688"/>
                    <a:pt x="396" y="626"/>
                    <a:pt x="472" y="620"/>
                  </a:cubicBezTo>
                  <a:cubicBezTo>
                    <a:pt x="552" y="614"/>
                    <a:pt x="632" y="677"/>
                    <a:pt x="633" y="774"/>
                  </a:cubicBezTo>
                  <a:cubicBezTo>
                    <a:pt x="634" y="791"/>
                    <a:pt x="634" y="809"/>
                    <a:pt x="633" y="826"/>
                  </a:cubicBezTo>
                  <a:cubicBezTo>
                    <a:pt x="633" y="836"/>
                    <a:pt x="636" y="840"/>
                    <a:pt x="647" y="840"/>
                  </a:cubicBezTo>
                  <a:cubicBezTo>
                    <a:pt x="703" y="844"/>
                    <a:pt x="703" y="844"/>
                    <a:pt x="703" y="787"/>
                  </a:cubicBezTo>
                  <a:cubicBezTo>
                    <a:pt x="703" y="702"/>
                    <a:pt x="752" y="638"/>
                    <a:pt x="828" y="622"/>
                  </a:cubicBezTo>
                  <a:cubicBezTo>
                    <a:pt x="906" y="607"/>
                    <a:pt x="988" y="664"/>
                    <a:pt x="1003" y="746"/>
                  </a:cubicBezTo>
                  <a:cubicBezTo>
                    <a:pt x="1019" y="833"/>
                    <a:pt x="948" y="920"/>
                    <a:pt x="859" y="9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9" name="Rectangle 180">
            <a:extLst>
              <a:ext uri="{FF2B5EF4-FFF2-40B4-BE49-F238E27FC236}">
                <a16:creationId xmlns:a16="http://schemas.microsoft.com/office/drawing/2014/main" id="{B568421B-2C97-4154-B801-74E2804D09B9}"/>
              </a:ext>
            </a:extLst>
          </p:cNvPr>
          <p:cNvSpPr>
            <a:spLocks noChangeArrowheads="1"/>
          </p:cNvSpPr>
          <p:nvPr/>
        </p:nvSpPr>
        <p:spPr bwMode="auto">
          <a:xfrm>
            <a:off x="4086741" y="6184226"/>
            <a:ext cx="10659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zure Key Vault</a:t>
            </a:r>
            <a:endParaRPr kumimoji="0" lang="en-US" altLang="en-US" sz="2000" b="0" i="0" u="none" strike="noStrike" kern="0" cap="none" spc="0" normalizeH="0" baseline="0" noProof="0">
              <a:ln>
                <a:noFill/>
              </a:ln>
              <a:solidFill>
                <a:srgbClr val="1A1A1A"/>
              </a:solidFill>
              <a:effectLst/>
              <a:uLnTx/>
              <a:uFillTx/>
              <a:latin typeface="Segoe UI"/>
              <a:ea typeface="+mn-ea"/>
              <a:cs typeface="+mn-cs"/>
            </a:endParaRPr>
          </a:p>
        </p:txBody>
      </p:sp>
      <p:sp>
        <p:nvSpPr>
          <p:cNvPr id="120" name="Freeform 152">
            <a:extLst>
              <a:ext uri="{FF2B5EF4-FFF2-40B4-BE49-F238E27FC236}">
                <a16:creationId xmlns:a16="http://schemas.microsoft.com/office/drawing/2014/main" id="{5C0A5FBF-C2BD-4AC8-8C9F-7426908A7D69}"/>
              </a:ext>
            </a:extLst>
          </p:cNvPr>
          <p:cNvSpPr>
            <a:spLocks/>
          </p:cNvSpPr>
          <p:nvPr/>
        </p:nvSpPr>
        <p:spPr bwMode="auto">
          <a:xfrm>
            <a:off x="4484447" y="5892911"/>
            <a:ext cx="227628" cy="254252"/>
          </a:xfrm>
          <a:custGeom>
            <a:avLst/>
            <a:gdLst>
              <a:gd name="connsiteX0" fmla="*/ 1166259 w 5549828"/>
              <a:gd name="connsiteY0" fmla="*/ 1151783 h 6198954"/>
              <a:gd name="connsiteX1" fmla="*/ 1180637 w 5549828"/>
              <a:gd name="connsiteY1" fmla="*/ 1157048 h 6198954"/>
              <a:gd name="connsiteX2" fmla="*/ 1183664 w 5549828"/>
              <a:gd name="connsiteY2" fmla="*/ 1202581 h 6198954"/>
              <a:gd name="connsiteX3" fmla="*/ 1304742 w 5549828"/>
              <a:gd name="connsiteY3" fmla="*/ 1900753 h 6198954"/>
              <a:gd name="connsiteX4" fmla="*/ 1286580 w 5549828"/>
              <a:gd name="connsiteY4" fmla="*/ 2055565 h 6198954"/>
              <a:gd name="connsiteX5" fmla="*/ 796217 w 5549828"/>
              <a:gd name="connsiteY5" fmla="*/ 3029971 h 6198954"/>
              <a:gd name="connsiteX6" fmla="*/ 1213934 w 5549828"/>
              <a:gd name="connsiteY6" fmla="*/ 4693443 h 6198954"/>
              <a:gd name="connsiteX7" fmla="*/ 2630539 w 5549828"/>
              <a:gd name="connsiteY7" fmla="*/ 5428042 h 6198954"/>
              <a:gd name="connsiteX8" fmla="*/ 4443673 w 5549828"/>
              <a:gd name="connsiteY8" fmla="*/ 4541666 h 6198954"/>
              <a:gd name="connsiteX9" fmla="*/ 4788743 w 5549828"/>
              <a:gd name="connsiteY9" fmla="*/ 3588509 h 6198954"/>
              <a:gd name="connsiteX10" fmla="*/ 4325623 w 5549828"/>
              <a:gd name="connsiteY10" fmla="*/ 2137525 h 6198954"/>
              <a:gd name="connsiteX11" fmla="*/ 4304434 w 5549828"/>
              <a:gd name="connsiteY11" fmla="*/ 1979677 h 6198954"/>
              <a:gd name="connsiteX12" fmla="*/ 4455781 w 5549828"/>
              <a:gd name="connsiteY12" fmla="*/ 1284540 h 6198954"/>
              <a:gd name="connsiteX13" fmla="*/ 4461835 w 5549828"/>
              <a:gd name="connsiteY13" fmla="*/ 1235972 h 6198954"/>
              <a:gd name="connsiteX14" fmla="*/ 4507239 w 5549828"/>
              <a:gd name="connsiteY14" fmla="*/ 1260256 h 6198954"/>
              <a:gd name="connsiteX15" fmla="*/ 5503100 w 5549828"/>
              <a:gd name="connsiteY15" fmla="*/ 2938905 h 6198954"/>
              <a:gd name="connsiteX16" fmla="*/ 5115652 w 5549828"/>
              <a:gd name="connsiteY16" fmla="*/ 4915037 h 6198954"/>
              <a:gd name="connsiteX17" fmla="*/ 3190522 w 5549828"/>
              <a:gd name="connsiteY17" fmla="*/ 6165676 h 6198954"/>
              <a:gd name="connsiteX18" fmla="*/ 926375 w 5549828"/>
              <a:gd name="connsiteY18" fmla="*/ 5491788 h 6198954"/>
              <a:gd name="connsiteX19" fmla="*/ 30402 w 5549828"/>
              <a:gd name="connsiteY19" fmla="*/ 3822245 h 6198954"/>
              <a:gd name="connsiteX20" fmla="*/ 656978 w 5549828"/>
              <a:gd name="connsiteY20" fmla="*/ 1618449 h 6198954"/>
              <a:gd name="connsiteX21" fmla="*/ 1132206 w 5549828"/>
              <a:gd name="connsiteY21" fmla="*/ 1175261 h 6198954"/>
              <a:gd name="connsiteX22" fmla="*/ 1166259 w 5549828"/>
              <a:gd name="connsiteY22" fmla="*/ 1151783 h 6198954"/>
              <a:gd name="connsiteX23" fmla="*/ 2811700 w 5549828"/>
              <a:gd name="connsiteY23" fmla="*/ 680504 h 6198954"/>
              <a:gd name="connsiteX24" fmla="*/ 2206142 w 5549828"/>
              <a:gd name="connsiteY24" fmla="*/ 1284178 h 6198954"/>
              <a:gd name="connsiteX25" fmla="*/ 2811700 w 5549828"/>
              <a:gd name="connsiteY25" fmla="*/ 1884819 h 6198954"/>
              <a:gd name="connsiteX26" fmla="*/ 3414230 w 5549828"/>
              <a:gd name="connsiteY26" fmla="*/ 1284178 h 6198954"/>
              <a:gd name="connsiteX27" fmla="*/ 2811700 w 5549828"/>
              <a:gd name="connsiteY27" fmla="*/ 680504 h 6198954"/>
              <a:gd name="connsiteX28" fmla="*/ 2821785 w 5549828"/>
              <a:gd name="connsiteY28" fmla="*/ 111 h 6198954"/>
              <a:gd name="connsiteX29" fmla="*/ 3556430 w 5549828"/>
              <a:gd name="connsiteY29" fmla="*/ 245623 h 6198954"/>
              <a:gd name="connsiteX30" fmla="*/ 4070909 w 5549828"/>
              <a:gd name="connsiteY30" fmla="*/ 1223117 h 6198954"/>
              <a:gd name="connsiteX31" fmla="*/ 3217480 w 5549828"/>
              <a:gd name="connsiteY31" fmla="*/ 2492037 h 6198954"/>
              <a:gd name="connsiteX32" fmla="*/ 3159979 w 5549828"/>
              <a:gd name="connsiteY32" fmla="*/ 2589179 h 6198954"/>
              <a:gd name="connsiteX33" fmla="*/ 3159979 w 5549828"/>
              <a:gd name="connsiteY33" fmla="*/ 4793094 h 6198954"/>
              <a:gd name="connsiteX34" fmla="*/ 3057083 w 5549828"/>
              <a:gd name="connsiteY34" fmla="*/ 4896307 h 6198954"/>
              <a:gd name="connsiteX35" fmla="*/ 2518394 w 5549828"/>
              <a:gd name="connsiteY35" fmla="*/ 4896307 h 6198954"/>
              <a:gd name="connsiteX36" fmla="*/ 2445762 w 5549828"/>
              <a:gd name="connsiteY36" fmla="*/ 4823451 h 6198954"/>
              <a:gd name="connsiteX37" fmla="*/ 2445762 w 5549828"/>
              <a:gd name="connsiteY37" fmla="*/ 4489524 h 6198954"/>
              <a:gd name="connsiteX38" fmla="*/ 2379182 w 5549828"/>
              <a:gd name="connsiteY38" fmla="*/ 4422739 h 6198954"/>
              <a:gd name="connsiteX39" fmla="*/ 1925230 w 5549828"/>
              <a:gd name="connsiteY39" fmla="*/ 4422739 h 6198954"/>
              <a:gd name="connsiteX40" fmla="*/ 1852598 w 5549828"/>
              <a:gd name="connsiteY40" fmla="*/ 4352918 h 6198954"/>
              <a:gd name="connsiteX41" fmla="*/ 1852598 w 5549828"/>
              <a:gd name="connsiteY41" fmla="*/ 3842921 h 6198954"/>
              <a:gd name="connsiteX42" fmla="*/ 1919178 w 5549828"/>
              <a:gd name="connsiteY42" fmla="*/ 3776136 h 6198954"/>
              <a:gd name="connsiteX43" fmla="*/ 2367077 w 5549828"/>
              <a:gd name="connsiteY43" fmla="*/ 3776136 h 6198954"/>
              <a:gd name="connsiteX44" fmla="*/ 2448788 w 5549828"/>
              <a:gd name="connsiteY44" fmla="*/ 3697208 h 6198954"/>
              <a:gd name="connsiteX45" fmla="*/ 2445762 w 5549828"/>
              <a:gd name="connsiteY45" fmla="*/ 3138640 h 6198954"/>
              <a:gd name="connsiteX46" fmla="*/ 2445762 w 5549828"/>
              <a:gd name="connsiteY46" fmla="*/ 2580072 h 6198954"/>
              <a:gd name="connsiteX47" fmla="*/ 2385235 w 5549828"/>
              <a:gd name="connsiteY47" fmla="*/ 2489001 h 6198954"/>
              <a:gd name="connsiteX48" fmla="*/ 1552990 w 5549828"/>
              <a:gd name="connsiteY48" fmla="*/ 1484186 h 6198954"/>
              <a:gd name="connsiteX49" fmla="*/ 2082600 w 5549828"/>
              <a:gd name="connsiteY49" fmla="*/ 230444 h 6198954"/>
              <a:gd name="connsiteX50" fmla="*/ 2821785 w 5549828"/>
              <a:gd name="connsiteY50" fmla="*/ 111 h 619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549828" h="6198954">
                <a:moveTo>
                  <a:pt x="1166259" y="1151783"/>
                </a:moveTo>
                <a:cubicBezTo>
                  <a:pt x="1170611" y="1151736"/>
                  <a:pt x="1175340" y="1153253"/>
                  <a:pt x="1180637" y="1157048"/>
                </a:cubicBezTo>
                <a:cubicBezTo>
                  <a:pt x="1192745" y="1166154"/>
                  <a:pt x="1186691" y="1187403"/>
                  <a:pt x="1183664" y="1202581"/>
                </a:cubicBezTo>
                <a:cubicBezTo>
                  <a:pt x="1168530" y="1445423"/>
                  <a:pt x="1207880" y="1679159"/>
                  <a:pt x="1304742" y="1900753"/>
                </a:cubicBezTo>
                <a:cubicBezTo>
                  <a:pt x="1331984" y="1961464"/>
                  <a:pt x="1335011" y="2003961"/>
                  <a:pt x="1286580" y="2055565"/>
                </a:cubicBezTo>
                <a:cubicBezTo>
                  <a:pt x="1032318" y="2334834"/>
                  <a:pt x="865836" y="2659636"/>
                  <a:pt x="796217" y="3029971"/>
                </a:cubicBezTo>
                <a:cubicBezTo>
                  <a:pt x="684220" y="3646184"/>
                  <a:pt x="820432" y="4207758"/>
                  <a:pt x="1213934" y="4693443"/>
                </a:cubicBezTo>
                <a:cubicBezTo>
                  <a:pt x="1577166" y="5136631"/>
                  <a:pt x="2052395" y="5391616"/>
                  <a:pt x="2630539" y="5428042"/>
                </a:cubicBezTo>
                <a:cubicBezTo>
                  <a:pt x="3396354" y="5476611"/>
                  <a:pt x="4004767" y="5166986"/>
                  <a:pt x="4443673" y="4541666"/>
                </a:cubicBezTo>
                <a:cubicBezTo>
                  <a:pt x="4676747" y="4207758"/>
                  <a:pt x="4791770" y="3828316"/>
                  <a:pt x="4788743" y="3588509"/>
                </a:cubicBezTo>
                <a:cubicBezTo>
                  <a:pt x="4782690" y="2935870"/>
                  <a:pt x="4631343" y="2504824"/>
                  <a:pt x="4325623" y="2137525"/>
                </a:cubicBezTo>
                <a:cubicBezTo>
                  <a:pt x="4280218" y="2082885"/>
                  <a:pt x="4274165" y="2040388"/>
                  <a:pt x="4304434" y="1979677"/>
                </a:cubicBezTo>
                <a:cubicBezTo>
                  <a:pt x="4407350" y="1761119"/>
                  <a:pt x="4452754" y="1527383"/>
                  <a:pt x="4455781" y="1284540"/>
                </a:cubicBezTo>
                <a:cubicBezTo>
                  <a:pt x="4455781" y="1269363"/>
                  <a:pt x="4446700" y="1245078"/>
                  <a:pt x="4461835" y="1235972"/>
                </a:cubicBezTo>
                <a:cubicBezTo>
                  <a:pt x="4483023" y="1223829"/>
                  <a:pt x="4495131" y="1248114"/>
                  <a:pt x="4507239" y="1260256"/>
                </a:cubicBezTo>
                <a:cubicBezTo>
                  <a:pt x="5043006" y="1697373"/>
                  <a:pt x="5382022" y="2255910"/>
                  <a:pt x="5503100" y="2938905"/>
                </a:cubicBezTo>
                <a:cubicBezTo>
                  <a:pt x="5627204" y="3643149"/>
                  <a:pt x="5506126" y="4310966"/>
                  <a:pt x="5115652" y="4915037"/>
                </a:cubicBezTo>
                <a:cubicBezTo>
                  <a:pt x="4664639" y="5619281"/>
                  <a:pt x="4016875" y="6044255"/>
                  <a:pt x="3190522" y="6165676"/>
                </a:cubicBezTo>
                <a:cubicBezTo>
                  <a:pt x="2336927" y="6290133"/>
                  <a:pt x="1574139" y="6065504"/>
                  <a:pt x="926375" y="5491788"/>
                </a:cubicBezTo>
                <a:cubicBezTo>
                  <a:pt x="423904" y="5045565"/>
                  <a:pt x="121210" y="4483991"/>
                  <a:pt x="30402" y="3822245"/>
                </a:cubicBezTo>
                <a:cubicBezTo>
                  <a:pt x="-84621" y="2999616"/>
                  <a:pt x="127264" y="2261982"/>
                  <a:pt x="656978" y="1618449"/>
                </a:cubicBezTo>
                <a:cubicBezTo>
                  <a:pt x="796217" y="1451494"/>
                  <a:pt x="953617" y="1299718"/>
                  <a:pt x="1132206" y="1175261"/>
                </a:cubicBezTo>
                <a:cubicBezTo>
                  <a:pt x="1143557" y="1166154"/>
                  <a:pt x="1153206" y="1151925"/>
                  <a:pt x="1166259" y="1151783"/>
                </a:cubicBezTo>
                <a:close/>
                <a:moveTo>
                  <a:pt x="2811700" y="680504"/>
                </a:moveTo>
                <a:cubicBezTo>
                  <a:pt x="2539199" y="659269"/>
                  <a:pt x="2206142" y="908019"/>
                  <a:pt x="2206142" y="1284178"/>
                </a:cubicBezTo>
                <a:cubicBezTo>
                  <a:pt x="2206142" y="1611801"/>
                  <a:pt x="2478643" y="1881786"/>
                  <a:pt x="2811700" y="1884819"/>
                </a:cubicBezTo>
                <a:cubicBezTo>
                  <a:pt x="3144757" y="1884819"/>
                  <a:pt x="3411202" y="1617868"/>
                  <a:pt x="3414230" y="1284178"/>
                </a:cubicBezTo>
                <a:cubicBezTo>
                  <a:pt x="3414230" y="947455"/>
                  <a:pt x="3150812" y="680504"/>
                  <a:pt x="2811700" y="680504"/>
                </a:cubicBezTo>
                <a:close/>
                <a:moveTo>
                  <a:pt x="2821785" y="111"/>
                </a:moveTo>
                <a:cubicBezTo>
                  <a:pt x="3082807" y="3526"/>
                  <a:pt x="3343073" y="86249"/>
                  <a:pt x="3556430" y="245623"/>
                </a:cubicBezTo>
                <a:cubicBezTo>
                  <a:pt x="3883275" y="488478"/>
                  <a:pt x="4055777" y="813298"/>
                  <a:pt x="4070909" y="1223117"/>
                </a:cubicBezTo>
                <a:cubicBezTo>
                  <a:pt x="4092093" y="1802934"/>
                  <a:pt x="3765248" y="2294717"/>
                  <a:pt x="3217480" y="2492037"/>
                </a:cubicBezTo>
                <a:cubicBezTo>
                  <a:pt x="3166032" y="2510251"/>
                  <a:pt x="3159979" y="2543644"/>
                  <a:pt x="3159979" y="2589179"/>
                </a:cubicBezTo>
                <a:cubicBezTo>
                  <a:pt x="3159979" y="3323817"/>
                  <a:pt x="3159979" y="4058455"/>
                  <a:pt x="3159979" y="4793094"/>
                </a:cubicBezTo>
                <a:cubicBezTo>
                  <a:pt x="3159979" y="4896307"/>
                  <a:pt x="3159979" y="4896307"/>
                  <a:pt x="3057083" y="4896307"/>
                </a:cubicBezTo>
                <a:cubicBezTo>
                  <a:pt x="2878529" y="4896307"/>
                  <a:pt x="2699975" y="4893272"/>
                  <a:pt x="2518394" y="4896307"/>
                </a:cubicBezTo>
                <a:cubicBezTo>
                  <a:pt x="2463920" y="4896307"/>
                  <a:pt x="2442735" y="4881129"/>
                  <a:pt x="2445762" y="4823451"/>
                </a:cubicBezTo>
                <a:cubicBezTo>
                  <a:pt x="2448788" y="4711130"/>
                  <a:pt x="2445762" y="4601845"/>
                  <a:pt x="2445762" y="4489524"/>
                </a:cubicBezTo>
                <a:cubicBezTo>
                  <a:pt x="2448788" y="4440953"/>
                  <a:pt x="2430630" y="4422739"/>
                  <a:pt x="2379182" y="4422739"/>
                </a:cubicBezTo>
                <a:cubicBezTo>
                  <a:pt x="2227865" y="4425775"/>
                  <a:pt x="2076548" y="4422739"/>
                  <a:pt x="1925230" y="4422739"/>
                </a:cubicBezTo>
                <a:cubicBezTo>
                  <a:pt x="1873783" y="4425775"/>
                  <a:pt x="1849572" y="4410596"/>
                  <a:pt x="1852598" y="4352918"/>
                </a:cubicBezTo>
                <a:cubicBezTo>
                  <a:pt x="1855625" y="4182919"/>
                  <a:pt x="1852598" y="4012920"/>
                  <a:pt x="1852598" y="3842921"/>
                </a:cubicBezTo>
                <a:cubicBezTo>
                  <a:pt x="1852598" y="3794350"/>
                  <a:pt x="1867730" y="3773100"/>
                  <a:pt x="1919178" y="3776136"/>
                </a:cubicBezTo>
                <a:cubicBezTo>
                  <a:pt x="2067469" y="3776136"/>
                  <a:pt x="2218786" y="3773100"/>
                  <a:pt x="2367077" y="3776136"/>
                </a:cubicBezTo>
                <a:cubicBezTo>
                  <a:pt x="2427604" y="3779171"/>
                  <a:pt x="2448788" y="3760957"/>
                  <a:pt x="2448788" y="3697208"/>
                </a:cubicBezTo>
                <a:cubicBezTo>
                  <a:pt x="2442735" y="3512030"/>
                  <a:pt x="2445762" y="3326853"/>
                  <a:pt x="2445762" y="3138640"/>
                </a:cubicBezTo>
                <a:cubicBezTo>
                  <a:pt x="2445762" y="2953463"/>
                  <a:pt x="2445762" y="2768285"/>
                  <a:pt x="2445762" y="2580072"/>
                </a:cubicBezTo>
                <a:cubicBezTo>
                  <a:pt x="2448788" y="2531501"/>
                  <a:pt x="2433656" y="2507215"/>
                  <a:pt x="2385235" y="2489001"/>
                </a:cubicBezTo>
                <a:cubicBezTo>
                  <a:pt x="1922204" y="2306860"/>
                  <a:pt x="1628649" y="1975969"/>
                  <a:pt x="1552990" y="1484186"/>
                </a:cubicBezTo>
                <a:cubicBezTo>
                  <a:pt x="1474305" y="965082"/>
                  <a:pt x="1658912" y="540085"/>
                  <a:pt x="2082600" y="230444"/>
                </a:cubicBezTo>
                <a:cubicBezTo>
                  <a:pt x="2298984" y="72588"/>
                  <a:pt x="2560763" y="-3304"/>
                  <a:pt x="2821785"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Rectangle 180">
            <a:extLst>
              <a:ext uri="{FF2B5EF4-FFF2-40B4-BE49-F238E27FC236}">
                <a16:creationId xmlns:a16="http://schemas.microsoft.com/office/drawing/2014/main" id="{413665A5-E951-475A-BC3D-C69D3E9C752F}"/>
              </a:ext>
            </a:extLst>
          </p:cNvPr>
          <p:cNvSpPr>
            <a:spLocks noChangeArrowheads="1"/>
          </p:cNvSpPr>
          <p:nvPr/>
        </p:nvSpPr>
        <p:spPr bwMode="auto">
          <a:xfrm>
            <a:off x="8070245" y="6184226"/>
            <a:ext cx="12759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Virtual Networking</a:t>
            </a:r>
            <a:endParaRPr kumimoji="0" lang="en-US" altLang="en-US" sz="2000" b="0" i="0" u="none" strike="noStrike" kern="0" cap="none" spc="0" normalizeH="0" baseline="0" noProof="0">
              <a:ln>
                <a:noFill/>
              </a:ln>
              <a:solidFill>
                <a:srgbClr val="1A1A1A"/>
              </a:solidFill>
              <a:effectLst/>
              <a:uLnTx/>
              <a:uFillTx/>
              <a:latin typeface="Segoe UI"/>
              <a:ea typeface="+mn-ea"/>
              <a:cs typeface="+mn-cs"/>
            </a:endParaRPr>
          </a:p>
        </p:txBody>
      </p:sp>
      <p:sp>
        <p:nvSpPr>
          <p:cNvPr id="128" name="Freeform 73">
            <a:extLst>
              <a:ext uri="{FF2B5EF4-FFF2-40B4-BE49-F238E27FC236}">
                <a16:creationId xmlns:a16="http://schemas.microsoft.com/office/drawing/2014/main" id="{32671BC4-959A-41DA-876A-BDE170D181A5}"/>
              </a:ext>
            </a:extLst>
          </p:cNvPr>
          <p:cNvSpPr>
            <a:spLocks/>
          </p:cNvSpPr>
          <p:nvPr/>
        </p:nvSpPr>
        <p:spPr bwMode="auto">
          <a:xfrm>
            <a:off x="8522504" y="5889253"/>
            <a:ext cx="307102" cy="166651"/>
          </a:xfrm>
          <a:custGeom>
            <a:avLst/>
            <a:gdLst>
              <a:gd name="connsiteX0" fmla="*/ 4211619 w 6156140"/>
              <a:gd name="connsiteY0" fmla="*/ 1290612 h 3340681"/>
              <a:gd name="connsiteX1" fmla="*/ 4589368 w 6156140"/>
              <a:gd name="connsiteY1" fmla="*/ 1672989 h 3340681"/>
              <a:gd name="connsiteX2" fmla="*/ 4211619 w 6156140"/>
              <a:gd name="connsiteY2" fmla="*/ 2046262 h 3340681"/>
              <a:gd name="connsiteX3" fmla="*/ 3836893 w 6156140"/>
              <a:gd name="connsiteY3" fmla="*/ 1669955 h 3340681"/>
              <a:gd name="connsiteX4" fmla="*/ 4211619 w 6156140"/>
              <a:gd name="connsiteY4" fmla="*/ 1290612 h 3340681"/>
              <a:gd name="connsiteX5" fmla="*/ 3082257 w 6156140"/>
              <a:gd name="connsiteY5" fmla="*/ 1290612 h 3340681"/>
              <a:gd name="connsiteX6" fmla="*/ 3463831 w 6156140"/>
              <a:gd name="connsiteY6" fmla="*/ 1666920 h 3340681"/>
              <a:gd name="connsiteX7" fmla="*/ 3085285 w 6156140"/>
              <a:gd name="connsiteY7" fmla="*/ 2046262 h 3340681"/>
              <a:gd name="connsiteX8" fmla="*/ 2709768 w 6156140"/>
              <a:gd name="connsiteY8" fmla="*/ 1669955 h 3340681"/>
              <a:gd name="connsiteX9" fmla="*/ 3082257 w 6156140"/>
              <a:gd name="connsiteY9" fmla="*/ 1290612 h 3340681"/>
              <a:gd name="connsiteX10" fmla="*/ 1965805 w 6156140"/>
              <a:gd name="connsiteY10" fmla="*/ 1290612 h 3340681"/>
              <a:gd name="connsiteX11" fmla="*/ 2338294 w 6156140"/>
              <a:gd name="connsiteY11" fmla="*/ 1666920 h 3340681"/>
              <a:gd name="connsiteX12" fmla="*/ 1959748 w 6156140"/>
              <a:gd name="connsiteY12" fmla="*/ 2046262 h 3340681"/>
              <a:gd name="connsiteX13" fmla="*/ 1584231 w 6156140"/>
              <a:gd name="connsiteY13" fmla="*/ 1669955 h 3340681"/>
              <a:gd name="connsiteX14" fmla="*/ 1965805 w 6156140"/>
              <a:gd name="connsiteY14" fmla="*/ 1290612 h 3340681"/>
              <a:gd name="connsiteX15" fmla="*/ 1665602 w 6156140"/>
              <a:gd name="connsiteY15" fmla="*/ 507 h 3340681"/>
              <a:gd name="connsiteX16" fmla="*/ 1720478 w 6156140"/>
              <a:gd name="connsiteY16" fmla="*/ 46486 h 3340681"/>
              <a:gd name="connsiteX17" fmla="*/ 1829475 w 6156140"/>
              <a:gd name="connsiteY17" fmla="*/ 168084 h 3340681"/>
              <a:gd name="connsiteX18" fmla="*/ 1859752 w 6156140"/>
              <a:gd name="connsiteY18" fmla="*/ 204564 h 3340681"/>
              <a:gd name="connsiteX19" fmla="*/ 1817364 w 6156140"/>
              <a:gd name="connsiteY19" fmla="*/ 265363 h 3340681"/>
              <a:gd name="connsiteX20" fmla="*/ 660790 w 6156140"/>
              <a:gd name="connsiteY20" fmla="*/ 1423586 h 3340681"/>
              <a:gd name="connsiteX21" fmla="*/ 467019 w 6156140"/>
              <a:gd name="connsiteY21" fmla="*/ 1618143 h 3340681"/>
              <a:gd name="connsiteX22" fmla="*/ 463991 w 6156140"/>
              <a:gd name="connsiteY22" fmla="*/ 1727581 h 3340681"/>
              <a:gd name="connsiteX23" fmla="*/ 1802226 w 6156140"/>
              <a:gd name="connsiteY23" fmla="*/ 3065161 h 3340681"/>
              <a:gd name="connsiteX24" fmla="*/ 1805253 w 6156140"/>
              <a:gd name="connsiteY24" fmla="*/ 3195879 h 3340681"/>
              <a:gd name="connsiteX25" fmla="*/ 1693229 w 6156140"/>
              <a:gd name="connsiteY25" fmla="*/ 3323557 h 3340681"/>
              <a:gd name="connsiteX26" fmla="*/ 1629648 w 6156140"/>
              <a:gd name="connsiteY26" fmla="*/ 3323557 h 3340681"/>
              <a:gd name="connsiteX27" fmla="*/ 1599371 w 6156140"/>
              <a:gd name="connsiteY27" fmla="*/ 3293158 h 3340681"/>
              <a:gd name="connsiteX28" fmla="*/ 43144 w 6156140"/>
              <a:gd name="connsiteY28" fmla="*/ 1727581 h 3340681"/>
              <a:gd name="connsiteX29" fmla="*/ 43144 w 6156140"/>
              <a:gd name="connsiteY29" fmla="*/ 1615103 h 3340681"/>
              <a:gd name="connsiteX30" fmla="*/ 1608454 w 6156140"/>
              <a:gd name="connsiteY30" fmla="*/ 43446 h 3340681"/>
              <a:gd name="connsiteX31" fmla="*/ 1665602 w 6156140"/>
              <a:gd name="connsiteY31" fmla="*/ 507 h 3340681"/>
              <a:gd name="connsiteX32" fmla="*/ 4493577 w 6156140"/>
              <a:gd name="connsiteY32" fmla="*/ 17 h 3340681"/>
              <a:gd name="connsiteX33" fmla="*/ 4526874 w 6156140"/>
              <a:gd name="connsiteY33" fmla="*/ 19398 h 3340681"/>
              <a:gd name="connsiteX34" fmla="*/ 4551090 w 6156140"/>
              <a:gd name="connsiteY34" fmla="*/ 43719 h 3340681"/>
              <a:gd name="connsiteX35" fmla="*/ 6113006 w 6156140"/>
              <a:gd name="connsiteY35" fmla="*/ 1612398 h 3340681"/>
              <a:gd name="connsiteX36" fmla="*/ 6113006 w 6156140"/>
              <a:gd name="connsiteY36" fmla="*/ 1724881 h 3340681"/>
              <a:gd name="connsiteX37" fmla="*/ 4548063 w 6156140"/>
              <a:gd name="connsiteY37" fmla="*/ 3299641 h 3340681"/>
              <a:gd name="connsiteX38" fmla="*/ 4439092 w 6156140"/>
              <a:gd name="connsiteY38" fmla="*/ 3299641 h 3340681"/>
              <a:gd name="connsiteX39" fmla="*/ 4324067 w 6156140"/>
              <a:gd name="connsiteY39" fmla="*/ 3174998 h 3340681"/>
              <a:gd name="connsiteX40" fmla="*/ 4327094 w 6156140"/>
              <a:gd name="connsiteY40" fmla="*/ 3089875 h 3340681"/>
              <a:gd name="connsiteX41" fmla="*/ 4778112 w 6156140"/>
              <a:gd name="connsiteY41" fmla="*/ 2639944 h 3340681"/>
              <a:gd name="connsiteX42" fmla="*/ 5692257 w 6156140"/>
              <a:gd name="connsiteY42" fmla="*/ 1718801 h 3340681"/>
              <a:gd name="connsiteX43" fmla="*/ 5728580 w 6156140"/>
              <a:gd name="connsiteY43" fmla="*/ 1673200 h 3340681"/>
              <a:gd name="connsiteX44" fmla="*/ 5689230 w 6156140"/>
              <a:gd name="connsiteY44" fmla="*/ 1621518 h 3340681"/>
              <a:gd name="connsiteX45" fmla="*/ 4608602 w 6156140"/>
              <a:gd name="connsiteY45" fmla="*/ 539251 h 3340681"/>
              <a:gd name="connsiteX46" fmla="*/ 4327094 w 6156140"/>
              <a:gd name="connsiteY46" fmla="*/ 253484 h 3340681"/>
              <a:gd name="connsiteX47" fmla="*/ 4324067 w 6156140"/>
              <a:gd name="connsiteY47" fmla="*/ 165322 h 3340681"/>
              <a:gd name="connsiteX48" fmla="*/ 4460281 w 6156140"/>
              <a:gd name="connsiteY48" fmla="*/ 19398 h 3340681"/>
              <a:gd name="connsiteX49" fmla="*/ 4493577 w 6156140"/>
              <a:gd name="connsiteY49" fmla="*/ 17 h 334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156140" h="3340681">
                <a:moveTo>
                  <a:pt x="4211619" y="1290612"/>
                </a:moveTo>
                <a:cubicBezTo>
                  <a:pt x="4417115" y="1293647"/>
                  <a:pt x="4589368" y="1466627"/>
                  <a:pt x="4589368" y="1672989"/>
                </a:cubicBezTo>
                <a:cubicBezTo>
                  <a:pt x="4589368" y="1876317"/>
                  <a:pt x="4417115" y="2046262"/>
                  <a:pt x="4211619" y="2046262"/>
                </a:cubicBezTo>
                <a:cubicBezTo>
                  <a:pt x="4003102" y="2046262"/>
                  <a:pt x="3836893" y="1882386"/>
                  <a:pt x="3836893" y="1669955"/>
                </a:cubicBezTo>
                <a:cubicBezTo>
                  <a:pt x="3836893" y="1460558"/>
                  <a:pt x="4006124" y="1290612"/>
                  <a:pt x="4211619" y="1290612"/>
                </a:cubicBezTo>
                <a:close/>
                <a:moveTo>
                  <a:pt x="3082257" y="1290612"/>
                </a:moveTo>
                <a:cubicBezTo>
                  <a:pt x="3288186" y="1290612"/>
                  <a:pt x="3463831" y="1463592"/>
                  <a:pt x="3463831" y="1666920"/>
                </a:cubicBezTo>
                <a:cubicBezTo>
                  <a:pt x="3463831" y="1873282"/>
                  <a:pt x="3294242" y="2046262"/>
                  <a:pt x="3085285" y="2046262"/>
                </a:cubicBezTo>
                <a:cubicBezTo>
                  <a:pt x="2876328" y="2046262"/>
                  <a:pt x="2709768" y="1882386"/>
                  <a:pt x="2709768" y="1669955"/>
                </a:cubicBezTo>
                <a:cubicBezTo>
                  <a:pt x="2709768" y="1463592"/>
                  <a:pt x="2876328" y="1293647"/>
                  <a:pt x="3082257" y="1290612"/>
                </a:cubicBezTo>
                <a:close/>
                <a:moveTo>
                  <a:pt x="1965805" y="1290612"/>
                </a:moveTo>
                <a:cubicBezTo>
                  <a:pt x="2168705" y="1293647"/>
                  <a:pt x="2338294" y="1463592"/>
                  <a:pt x="2338294" y="1666920"/>
                </a:cubicBezTo>
                <a:cubicBezTo>
                  <a:pt x="2338294" y="1873282"/>
                  <a:pt x="2165677" y="2046262"/>
                  <a:pt x="1959748" y="2046262"/>
                </a:cubicBezTo>
                <a:cubicBezTo>
                  <a:pt x="1744734" y="2046262"/>
                  <a:pt x="1584231" y="1885421"/>
                  <a:pt x="1584231" y="1669955"/>
                </a:cubicBezTo>
                <a:cubicBezTo>
                  <a:pt x="1587259" y="1463592"/>
                  <a:pt x="1759876" y="1290612"/>
                  <a:pt x="1965805" y="1290612"/>
                </a:cubicBezTo>
                <a:close/>
                <a:moveTo>
                  <a:pt x="1665602" y="507"/>
                </a:moveTo>
                <a:cubicBezTo>
                  <a:pt x="1679605" y="887"/>
                  <a:pt x="1693229" y="16087"/>
                  <a:pt x="1720478" y="46486"/>
                </a:cubicBezTo>
                <a:cubicBezTo>
                  <a:pt x="1756811" y="89046"/>
                  <a:pt x="1793143" y="128565"/>
                  <a:pt x="1829475" y="168084"/>
                </a:cubicBezTo>
                <a:cubicBezTo>
                  <a:pt x="1841586" y="180244"/>
                  <a:pt x="1850669" y="192404"/>
                  <a:pt x="1859752" y="204564"/>
                </a:cubicBezTo>
                <a:cubicBezTo>
                  <a:pt x="1856724" y="234964"/>
                  <a:pt x="1832503" y="247123"/>
                  <a:pt x="1817364" y="265363"/>
                </a:cubicBezTo>
                <a:cubicBezTo>
                  <a:pt x="1432849" y="651437"/>
                  <a:pt x="1045306" y="1037512"/>
                  <a:pt x="660790" y="1423586"/>
                </a:cubicBezTo>
                <a:cubicBezTo>
                  <a:pt x="597209" y="1490465"/>
                  <a:pt x="533628" y="1557344"/>
                  <a:pt x="467019" y="1618143"/>
                </a:cubicBezTo>
                <a:cubicBezTo>
                  <a:pt x="421604" y="1657662"/>
                  <a:pt x="418576" y="1681982"/>
                  <a:pt x="463991" y="1727581"/>
                </a:cubicBezTo>
                <a:cubicBezTo>
                  <a:pt x="912088" y="2171415"/>
                  <a:pt x="1357157" y="2618288"/>
                  <a:pt x="1802226" y="3065161"/>
                </a:cubicBezTo>
                <a:cubicBezTo>
                  <a:pt x="1877918" y="3141160"/>
                  <a:pt x="1871862" y="3129000"/>
                  <a:pt x="1805253" y="3195879"/>
                </a:cubicBezTo>
                <a:cubicBezTo>
                  <a:pt x="1768921" y="3238439"/>
                  <a:pt x="1729561" y="3280998"/>
                  <a:pt x="1693229" y="3323557"/>
                </a:cubicBezTo>
                <a:cubicBezTo>
                  <a:pt x="1672036" y="3344837"/>
                  <a:pt x="1650842" y="3344837"/>
                  <a:pt x="1629648" y="3323557"/>
                </a:cubicBezTo>
                <a:cubicBezTo>
                  <a:pt x="1620565" y="3311398"/>
                  <a:pt x="1611482" y="3302278"/>
                  <a:pt x="1599371" y="3293158"/>
                </a:cubicBezTo>
                <a:cubicBezTo>
                  <a:pt x="1081638" y="2770286"/>
                  <a:pt x="560877" y="2250453"/>
                  <a:pt x="43144" y="1727581"/>
                </a:cubicBezTo>
                <a:cubicBezTo>
                  <a:pt x="-14382" y="1672862"/>
                  <a:pt x="-14382" y="1672862"/>
                  <a:pt x="43144" y="1615103"/>
                </a:cubicBezTo>
                <a:cubicBezTo>
                  <a:pt x="563905" y="1092231"/>
                  <a:pt x="1087693" y="566319"/>
                  <a:pt x="1608454" y="43446"/>
                </a:cubicBezTo>
                <a:cubicBezTo>
                  <a:pt x="1637217" y="14567"/>
                  <a:pt x="1651599" y="127"/>
                  <a:pt x="1665602" y="507"/>
                </a:cubicBezTo>
                <a:close/>
                <a:moveTo>
                  <a:pt x="4493577" y="17"/>
                </a:moveTo>
                <a:cubicBezTo>
                  <a:pt x="4504172" y="397"/>
                  <a:pt x="4514766" y="7238"/>
                  <a:pt x="4526874" y="19398"/>
                </a:cubicBezTo>
                <a:cubicBezTo>
                  <a:pt x="4532928" y="28518"/>
                  <a:pt x="4542009" y="34598"/>
                  <a:pt x="4551090" y="43719"/>
                </a:cubicBezTo>
                <a:cubicBezTo>
                  <a:pt x="5071728" y="566612"/>
                  <a:pt x="5592367" y="1089505"/>
                  <a:pt x="6113006" y="1612398"/>
                </a:cubicBezTo>
                <a:cubicBezTo>
                  <a:pt x="6170518" y="1670160"/>
                  <a:pt x="6170518" y="1670160"/>
                  <a:pt x="6113006" y="1724881"/>
                </a:cubicBezTo>
                <a:cubicBezTo>
                  <a:pt x="5592367" y="2250814"/>
                  <a:pt x="5068701" y="2773707"/>
                  <a:pt x="4548063" y="3299641"/>
                </a:cubicBezTo>
                <a:cubicBezTo>
                  <a:pt x="4493577" y="3354362"/>
                  <a:pt x="4493577" y="3354362"/>
                  <a:pt x="4439092" y="3299641"/>
                </a:cubicBezTo>
                <a:cubicBezTo>
                  <a:pt x="4402768" y="3257080"/>
                  <a:pt x="4366444" y="3214519"/>
                  <a:pt x="4324067" y="3174998"/>
                </a:cubicBezTo>
                <a:cubicBezTo>
                  <a:pt x="4290770" y="3141557"/>
                  <a:pt x="4296824" y="3120276"/>
                  <a:pt x="4327094" y="3089875"/>
                </a:cubicBezTo>
                <a:cubicBezTo>
                  <a:pt x="4478442" y="2940912"/>
                  <a:pt x="4626764" y="2788908"/>
                  <a:pt x="4778112" y="2639944"/>
                </a:cubicBezTo>
                <a:cubicBezTo>
                  <a:pt x="5083836" y="2332896"/>
                  <a:pt x="5386533" y="2025849"/>
                  <a:pt x="5692257" y="1718801"/>
                </a:cubicBezTo>
                <a:cubicBezTo>
                  <a:pt x="5707392" y="1706641"/>
                  <a:pt x="5725554" y="1694480"/>
                  <a:pt x="5728580" y="1673200"/>
                </a:cubicBezTo>
                <a:cubicBezTo>
                  <a:pt x="5722526" y="1648879"/>
                  <a:pt x="5704365" y="1636719"/>
                  <a:pt x="5689230" y="1621518"/>
                </a:cubicBezTo>
                <a:cubicBezTo>
                  <a:pt x="5329020" y="1259749"/>
                  <a:pt x="4968811" y="897980"/>
                  <a:pt x="4608602" y="539251"/>
                </a:cubicBezTo>
                <a:cubicBezTo>
                  <a:pt x="4514766" y="445009"/>
                  <a:pt x="4423957" y="347726"/>
                  <a:pt x="4327094" y="253484"/>
                </a:cubicBezTo>
                <a:cubicBezTo>
                  <a:pt x="4293797" y="223083"/>
                  <a:pt x="4287743" y="198762"/>
                  <a:pt x="4324067" y="165322"/>
                </a:cubicBezTo>
                <a:cubicBezTo>
                  <a:pt x="4372498" y="119721"/>
                  <a:pt x="4417903" y="71079"/>
                  <a:pt x="4460281" y="19398"/>
                </a:cubicBezTo>
                <a:cubicBezTo>
                  <a:pt x="4472388" y="5717"/>
                  <a:pt x="4482983" y="-363"/>
                  <a:pt x="4493577" y="17"/>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A813158C-1B33-4F08-8D16-B6F87C1EDC3A}"/>
              </a:ext>
            </a:extLst>
          </p:cNvPr>
          <p:cNvGrpSpPr/>
          <p:nvPr/>
        </p:nvGrpSpPr>
        <p:grpSpPr>
          <a:xfrm>
            <a:off x="2767997" y="5854732"/>
            <a:ext cx="324479" cy="328281"/>
            <a:chOff x="2845471" y="5838913"/>
            <a:chExt cx="669689" cy="677537"/>
          </a:xfrm>
          <a:solidFill>
            <a:schemeClr val="accent1"/>
          </a:solidFill>
        </p:grpSpPr>
        <p:sp>
          <p:nvSpPr>
            <p:cNvPr id="105" name="Freeform 5">
              <a:extLst>
                <a:ext uri="{FF2B5EF4-FFF2-40B4-BE49-F238E27FC236}">
                  <a16:creationId xmlns:a16="http://schemas.microsoft.com/office/drawing/2014/main" id="{94D10468-2AF4-4D35-A795-5BF13F4E7032}"/>
                </a:ext>
              </a:extLst>
            </p:cNvPr>
            <p:cNvSpPr>
              <a:spLocks noEditPoints="1"/>
            </p:cNvSpPr>
            <p:nvPr/>
          </p:nvSpPr>
          <p:spPr bwMode="auto">
            <a:xfrm>
              <a:off x="2845471" y="5838913"/>
              <a:ext cx="669689" cy="67753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6">
              <a:extLst>
                <a:ext uri="{FF2B5EF4-FFF2-40B4-BE49-F238E27FC236}">
                  <a16:creationId xmlns:a16="http://schemas.microsoft.com/office/drawing/2014/main" id="{4B764219-08C1-4AA3-B574-B3C732B19F35}"/>
                </a:ext>
              </a:extLst>
            </p:cNvPr>
            <p:cNvSpPr>
              <a:spLocks/>
            </p:cNvSpPr>
            <p:nvPr/>
          </p:nvSpPr>
          <p:spPr bwMode="auto">
            <a:xfrm>
              <a:off x="3044983" y="6098417"/>
              <a:ext cx="121032" cy="213987"/>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8" name="Freeform 7">
              <a:extLst>
                <a:ext uri="{FF2B5EF4-FFF2-40B4-BE49-F238E27FC236}">
                  <a16:creationId xmlns:a16="http://schemas.microsoft.com/office/drawing/2014/main" id="{3664327F-5176-43CA-AB60-BB916A96C12A}"/>
                </a:ext>
              </a:extLst>
            </p:cNvPr>
            <p:cNvSpPr>
              <a:spLocks/>
            </p:cNvSpPr>
            <p:nvPr/>
          </p:nvSpPr>
          <p:spPr bwMode="auto">
            <a:xfrm>
              <a:off x="3190256" y="6096325"/>
              <a:ext cx="117021" cy="215033"/>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46" name="Rectangle 180">
            <a:extLst>
              <a:ext uri="{FF2B5EF4-FFF2-40B4-BE49-F238E27FC236}">
                <a16:creationId xmlns:a16="http://schemas.microsoft.com/office/drawing/2014/main" id="{53E116DF-09E1-4CF4-907E-0D9CB1E1A1B8}"/>
              </a:ext>
            </a:extLst>
          </p:cNvPr>
          <p:cNvSpPr>
            <a:spLocks noChangeArrowheads="1"/>
          </p:cNvSpPr>
          <p:nvPr/>
        </p:nvSpPr>
        <p:spPr bwMode="auto">
          <a:xfrm>
            <a:off x="2612040" y="6184226"/>
            <a:ext cx="6363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zure AD</a:t>
            </a:r>
          </a:p>
        </p:txBody>
      </p:sp>
      <p:sp>
        <p:nvSpPr>
          <p:cNvPr id="131" name="Rectangle 128">
            <a:extLst>
              <a:ext uri="{FF2B5EF4-FFF2-40B4-BE49-F238E27FC236}">
                <a16:creationId xmlns:a16="http://schemas.microsoft.com/office/drawing/2014/main" id="{FFB1013D-3359-48F8-8FD8-2CBD140E1381}"/>
              </a:ext>
            </a:extLst>
          </p:cNvPr>
          <p:cNvSpPr>
            <a:spLocks noChangeArrowheads="1"/>
          </p:cNvSpPr>
          <p:nvPr/>
        </p:nvSpPr>
        <p:spPr bwMode="auto">
          <a:xfrm>
            <a:off x="543593" y="2267379"/>
            <a:ext cx="11830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1A1A1A"/>
                </a:solidFill>
                <a:effectLst/>
                <a:uLnTx/>
                <a:uFillTx/>
                <a:latin typeface="Segoe UI"/>
                <a:ea typeface="+mn-ea"/>
                <a:cs typeface="+mn-cs"/>
              </a:rPr>
              <a:t>Data Sources</a:t>
            </a:r>
          </a:p>
        </p:txBody>
      </p:sp>
      <p:sp>
        <p:nvSpPr>
          <p:cNvPr id="132" name="Freeform 34">
            <a:extLst>
              <a:ext uri="{FF2B5EF4-FFF2-40B4-BE49-F238E27FC236}">
                <a16:creationId xmlns:a16="http://schemas.microsoft.com/office/drawing/2014/main" id="{EFED0EEA-E7B5-4AA0-A69F-8085A1A0508A}"/>
              </a:ext>
            </a:extLst>
          </p:cNvPr>
          <p:cNvSpPr>
            <a:spLocks noChangeAspect="1" noEditPoints="1"/>
          </p:cNvSpPr>
          <p:nvPr/>
        </p:nvSpPr>
        <p:spPr bwMode="auto">
          <a:xfrm>
            <a:off x="906224" y="1815431"/>
            <a:ext cx="457756" cy="36213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noFill/>
          <a:ln w="15240">
            <a:solidFill>
              <a:schemeClr val="accent1"/>
            </a:solid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133" name="Group 132">
            <a:extLst>
              <a:ext uri="{FF2B5EF4-FFF2-40B4-BE49-F238E27FC236}">
                <a16:creationId xmlns:a16="http://schemas.microsoft.com/office/drawing/2014/main" id="{949A7AC8-C974-4F4E-BAB2-2E0B4F7E7F48}"/>
              </a:ext>
            </a:extLst>
          </p:cNvPr>
          <p:cNvGrpSpPr/>
          <p:nvPr/>
        </p:nvGrpSpPr>
        <p:grpSpPr>
          <a:xfrm>
            <a:off x="1026941" y="3224921"/>
            <a:ext cx="443591" cy="453368"/>
            <a:chOff x="2308225" y="7734300"/>
            <a:chExt cx="1368425" cy="1398588"/>
          </a:xfrm>
          <a:solidFill>
            <a:schemeClr val="accent1"/>
          </a:solidFill>
        </p:grpSpPr>
        <p:sp>
          <p:nvSpPr>
            <p:cNvPr id="134" name="Freeform 97">
              <a:extLst>
                <a:ext uri="{FF2B5EF4-FFF2-40B4-BE49-F238E27FC236}">
                  <a16:creationId xmlns:a16="http://schemas.microsoft.com/office/drawing/2014/main" id="{EE491D66-7404-4A90-8AE5-C14223D8036A}"/>
                </a:ext>
              </a:extLst>
            </p:cNvPr>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35" name="Freeform 98">
              <a:extLst>
                <a:ext uri="{FF2B5EF4-FFF2-40B4-BE49-F238E27FC236}">
                  <a16:creationId xmlns:a16="http://schemas.microsoft.com/office/drawing/2014/main" id="{5BC8E091-546A-4BA5-9A89-843C917DD080}"/>
                </a:ext>
              </a:extLst>
            </p:cNvPr>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36" name="Freeform 99">
              <a:extLst>
                <a:ext uri="{FF2B5EF4-FFF2-40B4-BE49-F238E27FC236}">
                  <a16:creationId xmlns:a16="http://schemas.microsoft.com/office/drawing/2014/main" id="{BA673DD6-A246-4830-8177-CEFA4BCE9C68}"/>
                </a:ext>
              </a:extLst>
            </p:cNvPr>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37" name="Freeform 100">
              <a:extLst>
                <a:ext uri="{FF2B5EF4-FFF2-40B4-BE49-F238E27FC236}">
                  <a16:creationId xmlns:a16="http://schemas.microsoft.com/office/drawing/2014/main" id="{BD9F3FF2-432C-4A5F-B8C9-3DC4265D0489}"/>
                </a:ext>
              </a:extLst>
            </p:cNvPr>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38" name="Freeform 101">
              <a:extLst>
                <a:ext uri="{FF2B5EF4-FFF2-40B4-BE49-F238E27FC236}">
                  <a16:creationId xmlns:a16="http://schemas.microsoft.com/office/drawing/2014/main" id="{4A2797F7-4A3E-43B0-BAC0-71DC582DFFC3}"/>
                </a:ext>
              </a:extLst>
            </p:cNvPr>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39" name="Freeform 102">
              <a:extLst>
                <a:ext uri="{FF2B5EF4-FFF2-40B4-BE49-F238E27FC236}">
                  <a16:creationId xmlns:a16="http://schemas.microsoft.com/office/drawing/2014/main" id="{24B51FD8-96F0-48F7-B04B-B4950B9D8DCC}"/>
                </a:ext>
              </a:extLst>
            </p:cNvPr>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0" name="Freeform 103">
              <a:extLst>
                <a:ext uri="{FF2B5EF4-FFF2-40B4-BE49-F238E27FC236}">
                  <a16:creationId xmlns:a16="http://schemas.microsoft.com/office/drawing/2014/main" id="{E632D84D-AFF0-46D4-BFFE-DE7964F36940}"/>
                </a:ext>
              </a:extLst>
            </p:cNvPr>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1" name="Freeform 104">
              <a:extLst>
                <a:ext uri="{FF2B5EF4-FFF2-40B4-BE49-F238E27FC236}">
                  <a16:creationId xmlns:a16="http://schemas.microsoft.com/office/drawing/2014/main" id="{191C33B8-7EE9-4A09-8F42-D44525A7A24D}"/>
                </a:ext>
              </a:extLst>
            </p:cNvPr>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3" name="Freeform 105">
              <a:extLst>
                <a:ext uri="{FF2B5EF4-FFF2-40B4-BE49-F238E27FC236}">
                  <a16:creationId xmlns:a16="http://schemas.microsoft.com/office/drawing/2014/main" id="{0A9B34E5-67D5-46B5-B833-195BE178D7EA}"/>
                </a:ext>
              </a:extLst>
            </p:cNvPr>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5" name="Freeform 106">
              <a:extLst>
                <a:ext uri="{FF2B5EF4-FFF2-40B4-BE49-F238E27FC236}">
                  <a16:creationId xmlns:a16="http://schemas.microsoft.com/office/drawing/2014/main" id="{9D2ACD52-E10C-4FE4-813F-4BBCE9419D2C}"/>
                </a:ext>
              </a:extLst>
            </p:cNvPr>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6" name="Freeform 107">
              <a:extLst>
                <a:ext uri="{FF2B5EF4-FFF2-40B4-BE49-F238E27FC236}">
                  <a16:creationId xmlns:a16="http://schemas.microsoft.com/office/drawing/2014/main" id="{0AC4AB76-6B39-48B2-ACE8-8E99B0182481}"/>
                </a:ext>
              </a:extLst>
            </p:cNvPr>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147" name="Freeform 256">
            <a:extLst>
              <a:ext uri="{FF2B5EF4-FFF2-40B4-BE49-F238E27FC236}">
                <a16:creationId xmlns:a16="http://schemas.microsoft.com/office/drawing/2014/main" id="{1B6697D6-F6DD-45DB-A841-FD7C7CFA8ED9}"/>
              </a:ext>
            </a:extLst>
          </p:cNvPr>
          <p:cNvSpPr>
            <a:spLocks noChangeAspect="1"/>
          </p:cNvSpPr>
          <p:nvPr/>
        </p:nvSpPr>
        <p:spPr bwMode="auto">
          <a:xfrm>
            <a:off x="1020542" y="4631316"/>
            <a:ext cx="229119" cy="388495"/>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53" name="Rectangle 128">
            <a:extLst>
              <a:ext uri="{FF2B5EF4-FFF2-40B4-BE49-F238E27FC236}">
                <a16:creationId xmlns:a16="http://schemas.microsoft.com/office/drawing/2014/main" id="{5A5E2FAD-E2F0-44F7-8262-CE739B617BD9}"/>
              </a:ext>
            </a:extLst>
          </p:cNvPr>
          <p:cNvSpPr>
            <a:spLocks noChangeArrowheads="1"/>
          </p:cNvSpPr>
          <p:nvPr/>
        </p:nvSpPr>
        <p:spPr bwMode="auto">
          <a:xfrm>
            <a:off x="950679" y="3691549"/>
            <a:ext cx="4600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1A1A1A"/>
                </a:solidFill>
                <a:effectLst/>
                <a:uLnTx/>
                <a:uFillTx/>
                <a:latin typeface="Segoe UI"/>
                <a:ea typeface="+mn-ea"/>
                <a:cs typeface="+mn-cs"/>
              </a:rPr>
              <a:t>Apps</a:t>
            </a:r>
          </a:p>
        </p:txBody>
      </p:sp>
      <p:sp>
        <p:nvSpPr>
          <p:cNvPr id="155" name="Rectangle 128">
            <a:extLst>
              <a:ext uri="{FF2B5EF4-FFF2-40B4-BE49-F238E27FC236}">
                <a16:creationId xmlns:a16="http://schemas.microsoft.com/office/drawing/2014/main" id="{9CBC9867-FCD3-4357-BEE9-E7E71F9C1CC0}"/>
              </a:ext>
            </a:extLst>
          </p:cNvPr>
          <p:cNvSpPr>
            <a:spLocks noChangeArrowheads="1"/>
          </p:cNvSpPr>
          <p:nvPr/>
        </p:nvSpPr>
        <p:spPr bwMode="auto">
          <a:xfrm>
            <a:off x="590880" y="5094107"/>
            <a:ext cx="10884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1A1A1A"/>
                </a:solidFill>
                <a:effectLst/>
                <a:uLnTx/>
                <a:uFillTx/>
                <a:latin typeface="Segoe UI"/>
                <a:ea typeface="+mn-ea"/>
                <a:cs typeface="+mn-cs"/>
              </a:rPr>
              <a:t>Sensor Data</a:t>
            </a:r>
          </a:p>
        </p:txBody>
      </p:sp>
      <p:cxnSp>
        <p:nvCxnSpPr>
          <p:cNvPr id="97" name="Straight Connector 96">
            <a:extLst>
              <a:ext uri="{FF2B5EF4-FFF2-40B4-BE49-F238E27FC236}">
                <a16:creationId xmlns:a16="http://schemas.microsoft.com/office/drawing/2014/main" id="{0E170626-76F6-4B6A-81F9-24D85C73D4D5}"/>
              </a:ext>
            </a:extLst>
          </p:cNvPr>
          <p:cNvCxnSpPr>
            <a:cxnSpLocks/>
          </p:cNvCxnSpPr>
          <p:nvPr/>
        </p:nvCxnSpPr>
        <p:spPr>
          <a:xfrm>
            <a:off x="1812317" y="1777411"/>
            <a:ext cx="0" cy="3579452"/>
          </a:xfrm>
          <a:prstGeom prst="line">
            <a:avLst/>
          </a:prstGeom>
          <a:noFill/>
          <a:ln w="9525" cap="flat" cmpd="sng" algn="ctr">
            <a:solidFill>
              <a:schemeClr val="bg1">
                <a:lumMod val="65000"/>
              </a:schemeClr>
            </a:solidFill>
            <a:prstDash val="solid"/>
            <a:headEnd type="none" w="med" len="med"/>
            <a:tailEnd type="none" w="med" len="med"/>
          </a:ln>
          <a:effectLst/>
        </p:spPr>
      </p:cxnSp>
      <p:sp>
        <p:nvSpPr>
          <p:cNvPr id="99" name="Rectangle 98">
            <a:extLst>
              <a:ext uri="{FF2B5EF4-FFF2-40B4-BE49-F238E27FC236}">
                <a16:creationId xmlns:a16="http://schemas.microsoft.com/office/drawing/2014/main" id="{A60FB83E-2643-48EE-BDB7-35530E8E84CF}"/>
              </a:ext>
            </a:extLst>
          </p:cNvPr>
          <p:cNvSpPr/>
          <p:nvPr/>
        </p:nvSpPr>
        <p:spPr bwMode="auto">
          <a:xfrm>
            <a:off x="2603075" y="2952236"/>
            <a:ext cx="186518" cy="9612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02" name="Freeform 14">
            <a:extLst>
              <a:ext uri="{FF2B5EF4-FFF2-40B4-BE49-F238E27FC236}">
                <a16:creationId xmlns:a16="http://schemas.microsoft.com/office/drawing/2014/main" id="{5E434E6D-ECBB-41D3-8DD8-97073E6774C5}"/>
              </a:ext>
            </a:extLst>
          </p:cNvPr>
          <p:cNvSpPr>
            <a:spLocks/>
          </p:cNvSpPr>
          <p:nvPr/>
        </p:nvSpPr>
        <p:spPr bwMode="auto">
          <a:xfrm>
            <a:off x="2450794" y="3036171"/>
            <a:ext cx="452049" cy="506729"/>
          </a:xfrm>
          <a:custGeom>
            <a:avLst/>
            <a:gdLst>
              <a:gd name="T0" fmla="*/ 917 w 1834"/>
              <a:gd name="T1" fmla="*/ 0 h 2050"/>
              <a:gd name="T2" fmla="*/ 1731 w 1834"/>
              <a:gd name="T3" fmla="*/ 0 h 2050"/>
              <a:gd name="T4" fmla="*/ 1831 w 1834"/>
              <a:gd name="T5" fmla="*/ 66 h 2050"/>
              <a:gd name="T6" fmla="*/ 1834 w 1834"/>
              <a:gd name="T7" fmla="*/ 98 h 2050"/>
              <a:gd name="T8" fmla="*/ 1834 w 1834"/>
              <a:gd name="T9" fmla="*/ 1418 h 2050"/>
              <a:gd name="T10" fmla="*/ 1736 w 1834"/>
              <a:gd name="T11" fmla="*/ 1516 h 2050"/>
              <a:gd name="T12" fmla="*/ 1398 w 1834"/>
              <a:gd name="T13" fmla="*/ 1515 h 2050"/>
              <a:gd name="T14" fmla="*/ 1374 w 1834"/>
              <a:gd name="T15" fmla="*/ 1535 h 2050"/>
              <a:gd name="T16" fmla="*/ 1147 w 1834"/>
              <a:gd name="T17" fmla="*/ 1911 h 2050"/>
              <a:gd name="T18" fmla="*/ 718 w 1834"/>
              <a:gd name="T19" fmla="*/ 2037 h 2050"/>
              <a:gd name="T20" fmla="*/ 498 w 1834"/>
              <a:gd name="T21" fmla="*/ 1976 h 2050"/>
              <a:gd name="T22" fmla="*/ 490 w 1834"/>
              <a:gd name="T23" fmla="*/ 1949 h 2050"/>
              <a:gd name="T24" fmla="*/ 554 w 1834"/>
              <a:gd name="T25" fmla="*/ 1828 h 2050"/>
              <a:gd name="T26" fmla="*/ 584 w 1834"/>
              <a:gd name="T27" fmla="*/ 1819 h 2050"/>
              <a:gd name="T28" fmla="*/ 968 w 1834"/>
              <a:gd name="T29" fmla="*/ 1815 h 2050"/>
              <a:gd name="T30" fmla="*/ 1201 w 1834"/>
              <a:gd name="T31" fmla="*/ 1492 h 2050"/>
              <a:gd name="T32" fmla="*/ 860 w 1834"/>
              <a:gd name="T33" fmla="*/ 1001 h 2050"/>
              <a:gd name="T34" fmla="*/ 581 w 1834"/>
              <a:gd name="T35" fmla="*/ 1037 h 2050"/>
              <a:gd name="T36" fmla="*/ 555 w 1834"/>
              <a:gd name="T37" fmla="*/ 1029 h 2050"/>
              <a:gd name="T38" fmla="*/ 488 w 1834"/>
              <a:gd name="T39" fmla="*/ 902 h 2050"/>
              <a:gd name="T40" fmla="*/ 494 w 1834"/>
              <a:gd name="T41" fmla="*/ 881 h 2050"/>
              <a:gd name="T42" fmla="*/ 825 w 1834"/>
              <a:gd name="T43" fmla="*/ 817 h 2050"/>
              <a:gd name="T44" fmla="*/ 1320 w 1834"/>
              <a:gd name="T45" fmla="*/ 1153 h 2050"/>
              <a:gd name="T46" fmla="*/ 1374 w 1834"/>
              <a:gd name="T47" fmla="*/ 1317 h 2050"/>
              <a:gd name="T48" fmla="*/ 1400 w 1834"/>
              <a:gd name="T49" fmla="*/ 1340 h 2050"/>
              <a:gd name="T50" fmla="*/ 1640 w 1834"/>
              <a:gd name="T51" fmla="*/ 1339 h 2050"/>
              <a:gd name="T52" fmla="*/ 1658 w 1834"/>
              <a:gd name="T53" fmla="*/ 1321 h 2050"/>
              <a:gd name="T54" fmla="*/ 1658 w 1834"/>
              <a:gd name="T55" fmla="*/ 401 h 2050"/>
              <a:gd name="T56" fmla="*/ 1637 w 1834"/>
              <a:gd name="T57" fmla="*/ 383 h 2050"/>
              <a:gd name="T58" fmla="*/ 719 w 1834"/>
              <a:gd name="T59" fmla="*/ 383 h 2050"/>
              <a:gd name="T60" fmla="*/ 197 w 1834"/>
              <a:gd name="T61" fmla="*/ 383 h 2050"/>
              <a:gd name="T62" fmla="*/ 177 w 1834"/>
              <a:gd name="T63" fmla="*/ 402 h 2050"/>
              <a:gd name="T64" fmla="*/ 177 w 1834"/>
              <a:gd name="T65" fmla="*/ 1320 h 2050"/>
              <a:gd name="T66" fmla="*/ 197 w 1834"/>
              <a:gd name="T67" fmla="*/ 1339 h 2050"/>
              <a:gd name="T68" fmla="*/ 497 w 1834"/>
              <a:gd name="T69" fmla="*/ 1339 h 2050"/>
              <a:gd name="T70" fmla="*/ 522 w 1834"/>
              <a:gd name="T71" fmla="*/ 1323 h 2050"/>
              <a:gd name="T72" fmla="*/ 783 w 1834"/>
              <a:gd name="T73" fmla="*/ 1158 h 2050"/>
              <a:gd name="T74" fmla="*/ 1033 w 1834"/>
              <a:gd name="T75" fmla="*/ 1351 h 2050"/>
              <a:gd name="T76" fmla="*/ 958 w 1834"/>
              <a:gd name="T77" fmla="*/ 1623 h 2050"/>
              <a:gd name="T78" fmla="*/ 674 w 1834"/>
              <a:gd name="T79" fmla="*/ 1678 h 2050"/>
              <a:gd name="T80" fmla="*/ 521 w 1834"/>
              <a:gd name="T81" fmla="*/ 1528 h 2050"/>
              <a:gd name="T82" fmla="*/ 498 w 1834"/>
              <a:gd name="T83" fmla="*/ 1515 h 2050"/>
              <a:gd name="T84" fmla="*/ 102 w 1834"/>
              <a:gd name="T85" fmla="*/ 1516 h 2050"/>
              <a:gd name="T86" fmla="*/ 1 w 1834"/>
              <a:gd name="T87" fmla="*/ 1415 h 2050"/>
              <a:gd name="T88" fmla="*/ 1 w 1834"/>
              <a:gd name="T89" fmla="*/ 101 h 2050"/>
              <a:gd name="T90" fmla="*/ 103 w 1834"/>
              <a:gd name="T91" fmla="*/ 0 h 2050"/>
              <a:gd name="T92" fmla="*/ 917 w 1834"/>
              <a:gd name="T93"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4" h="2050">
                <a:moveTo>
                  <a:pt x="917" y="0"/>
                </a:moveTo>
                <a:cubicBezTo>
                  <a:pt x="1189" y="0"/>
                  <a:pt x="1460" y="0"/>
                  <a:pt x="1731" y="0"/>
                </a:cubicBezTo>
                <a:cubicBezTo>
                  <a:pt x="1783" y="0"/>
                  <a:pt x="1818" y="23"/>
                  <a:pt x="1831" y="66"/>
                </a:cubicBezTo>
                <a:cubicBezTo>
                  <a:pt x="1834" y="77"/>
                  <a:pt x="1834" y="87"/>
                  <a:pt x="1834" y="98"/>
                </a:cubicBezTo>
                <a:cubicBezTo>
                  <a:pt x="1834" y="538"/>
                  <a:pt x="1834" y="978"/>
                  <a:pt x="1834" y="1418"/>
                </a:cubicBezTo>
                <a:cubicBezTo>
                  <a:pt x="1834" y="1481"/>
                  <a:pt x="1799" y="1515"/>
                  <a:pt x="1736" y="1516"/>
                </a:cubicBezTo>
                <a:cubicBezTo>
                  <a:pt x="1623" y="1516"/>
                  <a:pt x="1511" y="1516"/>
                  <a:pt x="1398" y="1515"/>
                </a:cubicBezTo>
                <a:cubicBezTo>
                  <a:pt x="1381" y="1515"/>
                  <a:pt x="1377" y="1521"/>
                  <a:pt x="1374" y="1535"/>
                </a:cubicBezTo>
                <a:cubicBezTo>
                  <a:pt x="1348" y="1690"/>
                  <a:pt x="1271" y="1815"/>
                  <a:pt x="1147" y="1911"/>
                </a:cubicBezTo>
                <a:cubicBezTo>
                  <a:pt x="1021" y="2009"/>
                  <a:pt x="877" y="2050"/>
                  <a:pt x="718" y="2037"/>
                </a:cubicBezTo>
                <a:cubicBezTo>
                  <a:pt x="640" y="2030"/>
                  <a:pt x="567" y="2010"/>
                  <a:pt x="498" y="1976"/>
                </a:cubicBezTo>
                <a:cubicBezTo>
                  <a:pt x="484" y="1969"/>
                  <a:pt x="482" y="1963"/>
                  <a:pt x="490" y="1949"/>
                </a:cubicBezTo>
                <a:cubicBezTo>
                  <a:pt x="512" y="1909"/>
                  <a:pt x="534" y="1869"/>
                  <a:pt x="554" y="1828"/>
                </a:cubicBezTo>
                <a:cubicBezTo>
                  <a:pt x="562" y="1811"/>
                  <a:pt x="570" y="1812"/>
                  <a:pt x="584" y="1819"/>
                </a:cubicBezTo>
                <a:cubicBezTo>
                  <a:pt x="713" y="1881"/>
                  <a:pt x="842" y="1880"/>
                  <a:pt x="968" y="1815"/>
                </a:cubicBezTo>
                <a:cubicBezTo>
                  <a:pt x="1099" y="1747"/>
                  <a:pt x="1178" y="1638"/>
                  <a:pt x="1201" y="1492"/>
                </a:cubicBezTo>
                <a:cubicBezTo>
                  <a:pt x="1238" y="1261"/>
                  <a:pt x="1081" y="1050"/>
                  <a:pt x="860" y="1001"/>
                </a:cubicBezTo>
                <a:cubicBezTo>
                  <a:pt x="763" y="979"/>
                  <a:pt x="669" y="992"/>
                  <a:pt x="581" y="1037"/>
                </a:cubicBezTo>
                <a:cubicBezTo>
                  <a:pt x="567" y="1043"/>
                  <a:pt x="562" y="1043"/>
                  <a:pt x="555" y="1029"/>
                </a:cubicBezTo>
                <a:cubicBezTo>
                  <a:pt x="534" y="986"/>
                  <a:pt x="511" y="944"/>
                  <a:pt x="488" y="902"/>
                </a:cubicBezTo>
                <a:cubicBezTo>
                  <a:pt x="483" y="892"/>
                  <a:pt x="481" y="887"/>
                  <a:pt x="494" y="881"/>
                </a:cubicBezTo>
                <a:cubicBezTo>
                  <a:pt x="599" y="832"/>
                  <a:pt x="709" y="805"/>
                  <a:pt x="825" y="817"/>
                </a:cubicBezTo>
                <a:cubicBezTo>
                  <a:pt x="1048" y="841"/>
                  <a:pt x="1214" y="954"/>
                  <a:pt x="1320" y="1153"/>
                </a:cubicBezTo>
                <a:cubicBezTo>
                  <a:pt x="1347" y="1204"/>
                  <a:pt x="1365" y="1259"/>
                  <a:pt x="1374" y="1317"/>
                </a:cubicBezTo>
                <a:cubicBezTo>
                  <a:pt x="1376" y="1333"/>
                  <a:pt x="1381" y="1340"/>
                  <a:pt x="1400" y="1340"/>
                </a:cubicBezTo>
                <a:cubicBezTo>
                  <a:pt x="1480" y="1338"/>
                  <a:pt x="1560" y="1339"/>
                  <a:pt x="1640" y="1339"/>
                </a:cubicBezTo>
                <a:cubicBezTo>
                  <a:pt x="1654" y="1339"/>
                  <a:pt x="1658" y="1335"/>
                  <a:pt x="1658" y="1321"/>
                </a:cubicBezTo>
                <a:cubicBezTo>
                  <a:pt x="1657" y="1015"/>
                  <a:pt x="1657" y="708"/>
                  <a:pt x="1658" y="401"/>
                </a:cubicBezTo>
                <a:cubicBezTo>
                  <a:pt x="1658" y="384"/>
                  <a:pt x="1651" y="383"/>
                  <a:pt x="1637" y="383"/>
                </a:cubicBezTo>
                <a:cubicBezTo>
                  <a:pt x="1331" y="383"/>
                  <a:pt x="1025" y="383"/>
                  <a:pt x="719" y="383"/>
                </a:cubicBezTo>
                <a:cubicBezTo>
                  <a:pt x="545" y="383"/>
                  <a:pt x="371" y="383"/>
                  <a:pt x="197" y="383"/>
                </a:cubicBezTo>
                <a:cubicBezTo>
                  <a:pt x="182" y="383"/>
                  <a:pt x="177" y="386"/>
                  <a:pt x="177" y="402"/>
                </a:cubicBezTo>
                <a:cubicBezTo>
                  <a:pt x="177" y="708"/>
                  <a:pt x="177" y="1014"/>
                  <a:pt x="177" y="1320"/>
                </a:cubicBezTo>
                <a:cubicBezTo>
                  <a:pt x="177" y="1337"/>
                  <a:pt x="182" y="1339"/>
                  <a:pt x="197" y="1339"/>
                </a:cubicBezTo>
                <a:cubicBezTo>
                  <a:pt x="297" y="1339"/>
                  <a:pt x="397" y="1339"/>
                  <a:pt x="497" y="1339"/>
                </a:cubicBezTo>
                <a:cubicBezTo>
                  <a:pt x="510" y="1339"/>
                  <a:pt x="516" y="1336"/>
                  <a:pt x="522" y="1323"/>
                </a:cubicBezTo>
                <a:cubicBezTo>
                  <a:pt x="563" y="1220"/>
                  <a:pt x="671" y="1152"/>
                  <a:pt x="783" y="1158"/>
                </a:cubicBezTo>
                <a:cubicBezTo>
                  <a:pt x="903" y="1165"/>
                  <a:pt x="1002" y="1242"/>
                  <a:pt x="1033" y="1351"/>
                </a:cubicBezTo>
                <a:cubicBezTo>
                  <a:pt x="1063" y="1457"/>
                  <a:pt x="1037" y="1549"/>
                  <a:pt x="958" y="1623"/>
                </a:cubicBezTo>
                <a:cubicBezTo>
                  <a:pt x="876" y="1699"/>
                  <a:pt x="779" y="1716"/>
                  <a:pt x="674" y="1678"/>
                </a:cubicBezTo>
                <a:cubicBezTo>
                  <a:pt x="601" y="1651"/>
                  <a:pt x="549" y="1601"/>
                  <a:pt x="521" y="1528"/>
                </a:cubicBezTo>
                <a:cubicBezTo>
                  <a:pt x="516" y="1515"/>
                  <a:pt x="508" y="1515"/>
                  <a:pt x="498" y="1515"/>
                </a:cubicBezTo>
                <a:cubicBezTo>
                  <a:pt x="366" y="1516"/>
                  <a:pt x="234" y="1516"/>
                  <a:pt x="102" y="1516"/>
                </a:cubicBezTo>
                <a:cubicBezTo>
                  <a:pt x="35" y="1516"/>
                  <a:pt x="1" y="1481"/>
                  <a:pt x="1" y="1415"/>
                </a:cubicBezTo>
                <a:cubicBezTo>
                  <a:pt x="0" y="977"/>
                  <a:pt x="0" y="539"/>
                  <a:pt x="1" y="101"/>
                </a:cubicBezTo>
                <a:cubicBezTo>
                  <a:pt x="1" y="34"/>
                  <a:pt x="35" y="0"/>
                  <a:pt x="103" y="0"/>
                </a:cubicBezTo>
                <a:cubicBezTo>
                  <a:pt x="375" y="0"/>
                  <a:pt x="646" y="0"/>
                  <a:pt x="917" y="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Rectangle 180">
            <a:extLst>
              <a:ext uri="{FF2B5EF4-FFF2-40B4-BE49-F238E27FC236}">
                <a16:creationId xmlns:a16="http://schemas.microsoft.com/office/drawing/2014/main" id="{977AECC9-88C9-4C36-A02A-E04192B956D4}"/>
              </a:ext>
            </a:extLst>
          </p:cNvPr>
          <p:cNvSpPr>
            <a:spLocks noChangeArrowheads="1"/>
          </p:cNvSpPr>
          <p:nvPr/>
        </p:nvSpPr>
        <p:spPr bwMode="auto">
          <a:xfrm>
            <a:off x="2556779" y="3619414"/>
            <a:ext cx="2276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PI</a:t>
            </a:r>
            <a:endParaRPr kumimoji="0" lang="en-US" altLang="en-US" sz="2000" b="0" i="0" u="none" strike="noStrike" kern="0" cap="none" spc="0" normalizeH="0" baseline="0" noProof="0">
              <a:ln>
                <a:noFill/>
              </a:ln>
              <a:solidFill>
                <a:srgbClr val="1A1A1A"/>
              </a:solidFill>
              <a:effectLst/>
              <a:uLnTx/>
              <a:uFillTx/>
              <a:latin typeface="Segoe UI"/>
              <a:ea typeface="+mn-ea"/>
              <a:cs typeface="+mn-cs"/>
            </a:endParaRPr>
          </a:p>
        </p:txBody>
      </p:sp>
      <p:grpSp>
        <p:nvGrpSpPr>
          <p:cNvPr id="121" name="Group 120">
            <a:extLst>
              <a:ext uri="{FF2B5EF4-FFF2-40B4-BE49-F238E27FC236}">
                <a16:creationId xmlns:a16="http://schemas.microsoft.com/office/drawing/2014/main" id="{60CEA818-AD52-4E71-94A6-E5FC306BC6C3}"/>
              </a:ext>
            </a:extLst>
          </p:cNvPr>
          <p:cNvGrpSpPr/>
          <p:nvPr/>
        </p:nvGrpSpPr>
        <p:grpSpPr>
          <a:xfrm>
            <a:off x="8867785" y="3324130"/>
            <a:ext cx="454418" cy="453368"/>
            <a:chOff x="-6599238" y="-952500"/>
            <a:chExt cx="6192838" cy="6178551"/>
          </a:xfrm>
          <a:solidFill>
            <a:schemeClr val="accent1"/>
          </a:solidFill>
        </p:grpSpPr>
        <p:sp>
          <p:nvSpPr>
            <p:cNvPr id="122" name="Freeform 88">
              <a:extLst>
                <a:ext uri="{FF2B5EF4-FFF2-40B4-BE49-F238E27FC236}">
                  <a16:creationId xmlns:a16="http://schemas.microsoft.com/office/drawing/2014/main" id="{5C19A9A7-8029-4054-B407-2C9DB51A8214}"/>
                </a:ext>
              </a:extLst>
            </p:cNvPr>
            <p:cNvSpPr>
              <a:spLocks noEditPoints="1"/>
            </p:cNvSpPr>
            <p:nvPr/>
          </p:nvSpPr>
          <p:spPr bwMode="auto">
            <a:xfrm>
              <a:off x="-6599238" y="-952500"/>
              <a:ext cx="6192838" cy="6178551"/>
            </a:xfrm>
            <a:custGeom>
              <a:avLst/>
              <a:gdLst>
                <a:gd name="T0" fmla="*/ 829 w 2046"/>
                <a:gd name="T1" fmla="*/ 577 h 2035"/>
                <a:gd name="T2" fmla="*/ 992 w 2046"/>
                <a:gd name="T3" fmla="*/ 426 h 2035"/>
                <a:gd name="T4" fmla="*/ 1859 w 2046"/>
                <a:gd name="T5" fmla="*/ 4 h 2035"/>
                <a:gd name="T6" fmla="*/ 2039 w 2046"/>
                <a:gd name="T7" fmla="*/ 23 h 2035"/>
                <a:gd name="T8" fmla="*/ 1672 w 2046"/>
                <a:gd name="T9" fmla="*/ 983 h 2035"/>
                <a:gd name="T10" fmla="*/ 1467 w 2046"/>
                <a:gd name="T11" fmla="*/ 1196 h 2035"/>
                <a:gd name="T12" fmla="*/ 1467 w 2046"/>
                <a:gd name="T13" fmla="*/ 1994 h 2035"/>
                <a:gd name="T14" fmla="*/ 880 w 2046"/>
                <a:gd name="T15" fmla="*/ 2022 h 2035"/>
                <a:gd name="T16" fmla="*/ 747 w 2046"/>
                <a:gd name="T17" fmla="*/ 1908 h 2035"/>
                <a:gd name="T18" fmla="*/ 390 w 2046"/>
                <a:gd name="T19" fmla="*/ 2029 h 2035"/>
                <a:gd name="T20" fmla="*/ 16 w 2046"/>
                <a:gd name="T21" fmla="*/ 1695 h 2035"/>
                <a:gd name="T22" fmla="*/ 137 w 2046"/>
                <a:gd name="T23" fmla="*/ 1332 h 2035"/>
                <a:gd name="T24" fmla="*/ 30 w 2046"/>
                <a:gd name="T25" fmla="*/ 1197 h 2035"/>
                <a:gd name="T26" fmla="*/ 17 w 2046"/>
                <a:gd name="T27" fmla="*/ 601 h 2035"/>
                <a:gd name="T28" fmla="*/ 439 w 2046"/>
                <a:gd name="T29" fmla="*/ 577 h 2035"/>
                <a:gd name="T30" fmla="*/ 753 w 2046"/>
                <a:gd name="T31" fmla="*/ 1688 h 2035"/>
                <a:gd name="T32" fmla="*/ 1289 w 2046"/>
                <a:gd name="T33" fmla="*/ 1144 h 2035"/>
                <a:gd name="T34" fmla="*/ 1558 w 2046"/>
                <a:gd name="T35" fmla="*/ 843 h 2035"/>
                <a:gd name="T36" fmla="*/ 1153 w 2046"/>
                <a:gd name="T37" fmla="*/ 473 h 2035"/>
                <a:gd name="T38" fmla="*/ 657 w 2046"/>
                <a:gd name="T39" fmla="*/ 980 h 2035"/>
                <a:gd name="T40" fmla="*/ 351 w 2046"/>
                <a:gd name="T41" fmla="*/ 1318 h 2035"/>
                <a:gd name="T42" fmla="*/ 738 w 2046"/>
                <a:gd name="T43" fmla="*/ 1700 h 2035"/>
                <a:gd name="T44" fmla="*/ 1873 w 2046"/>
                <a:gd name="T45" fmla="*/ 146 h 2035"/>
                <a:gd name="T46" fmla="*/ 1307 w 2046"/>
                <a:gd name="T47" fmla="*/ 363 h 2035"/>
                <a:gd name="T48" fmla="*/ 1658 w 2046"/>
                <a:gd name="T49" fmla="*/ 743 h 2035"/>
                <a:gd name="T50" fmla="*/ 1821 w 2046"/>
                <a:gd name="T51" fmla="*/ 477 h 2035"/>
                <a:gd name="T52" fmla="*/ 713 w 2046"/>
                <a:gd name="T53" fmla="*/ 727 h 2035"/>
                <a:gd name="T54" fmla="*/ 185 w 2046"/>
                <a:gd name="T55" fmla="*/ 726 h 2035"/>
                <a:gd name="T56" fmla="*/ 163 w 2046"/>
                <a:gd name="T57" fmla="*/ 1054 h 2035"/>
                <a:gd name="T58" fmla="*/ 227 w 2046"/>
                <a:gd name="T59" fmla="*/ 1188 h 2035"/>
                <a:gd name="T60" fmla="*/ 399 w 2046"/>
                <a:gd name="T61" fmla="*/ 1045 h 2035"/>
                <a:gd name="T62" fmla="*/ 713 w 2046"/>
                <a:gd name="T63" fmla="*/ 727 h 2035"/>
                <a:gd name="T64" fmla="*/ 1298 w 2046"/>
                <a:gd name="T65" fmla="*/ 1344 h 2035"/>
                <a:gd name="T66" fmla="*/ 856 w 2046"/>
                <a:gd name="T67" fmla="*/ 1790 h 2035"/>
                <a:gd name="T68" fmla="*/ 899 w 2046"/>
                <a:gd name="T69" fmla="*/ 1861 h 2035"/>
                <a:gd name="T70" fmla="*/ 1288 w 2046"/>
                <a:gd name="T71" fmla="*/ 1877 h 2035"/>
                <a:gd name="T72" fmla="*/ 1318 w 2046"/>
                <a:gd name="T73" fmla="*/ 1352 h 2035"/>
                <a:gd name="T74" fmla="*/ 409 w 2046"/>
                <a:gd name="T75" fmla="*/ 1864 h 2035"/>
                <a:gd name="T76" fmla="*/ 603 w 2046"/>
                <a:gd name="T77" fmla="*/ 1790 h 2035"/>
                <a:gd name="T78" fmla="*/ 278 w 2046"/>
                <a:gd name="T79" fmla="*/ 1444 h 2035"/>
                <a:gd name="T80" fmla="*/ 188 w 2046"/>
                <a:gd name="T81" fmla="*/ 1630 h 2035"/>
                <a:gd name="T82" fmla="*/ 392 w 2046"/>
                <a:gd name="T83" fmla="*/ 1857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6" h="2035">
                  <a:moveTo>
                    <a:pt x="439" y="577"/>
                  </a:moveTo>
                  <a:cubicBezTo>
                    <a:pt x="569" y="577"/>
                    <a:pt x="699" y="576"/>
                    <a:pt x="829" y="577"/>
                  </a:cubicBezTo>
                  <a:cubicBezTo>
                    <a:pt x="847" y="577"/>
                    <a:pt x="859" y="572"/>
                    <a:pt x="871" y="559"/>
                  </a:cubicBezTo>
                  <a:cubicBezTo>
                    <a:pt x="911" y="514"/>
                    <a:pt x="950" y="469"/>
                    <a:pt x="992" y="426"/>
                  </a:cubicBezTo>
                  <a:cubicBezTo>
                    <a:pt x="1162" y="254"/>
                    <a:pt x="1359" y="126"/>
                    <a:pt x="1591" y="55"/>
                  </a:cubicBezTo>
                  <a:cubicBezTo>
                    <a:pt x="1678" y="28"/>
                    <a:pt x="1768" y="12"/>
                    <a:pt x="1859" y="4"/>
                  </a:cubicBezTo>
                  <a:cubicBezTo>
                    <a:pt x="1911" y="0"/>
                    <a:pt x="1963" y="2"/>
                    <a:pt x="2015" y="1"/>
                  </a:cubicBezTo>
                  <a:cubicBezTo>
                    <a:pt x="2032" y="0"/>
                    <a:pt x="2038" y="5"/>
                    <a:pt x="2039" y="23"/>
                  </a:cubicBezTo>
                  <a:cubicBezTo>
                    <a:pt x="2046" y="244"/>
                    <a:pt x="2000" y="452"/>
                    <a:pt x="1902" y="649"/>
                  </a:cubicBezTo>
                  <a:cubicBezTo>
                    <a:pt x="1841" y="771"/>
                    <a:pt x="1763" y="882"/>
                    <a:pt x="1672" y="983"/>
                  </a:cubicBezTo>
                  <a:cubicBezTo>
                    <a:pt x="1613" y="1049"/>
                    <a:pt x="1549" y="1110"/>
                    <a:pt x="1479" y="1165"/>
                  </a:cubicBezTo>
                  <a:cubicBezTo>
                    <a:pt x="1468" y="1174"/>
                    <a:pt x="1467" y="1184"/>
                    <a:pt x="1467" y="1196"/>
                  </a:cubicBezTo>
                  <a:cubicBezTo>
                    <a:pt x="1467" y="1378"/>
                    <a:pt x="1467" y="1559"/>
                    <a:pt x="1467" y="1740"/>
                  </a:cubicBezTo>
                  <a:cubicBezTo>
                    <a:pt x="1467" y="1825"/>
                    <a:pt x="1467" y="1910"/>
                    <a:pt x="1467" y="1994"/>
                  </a:cubicBezTo>
                  <a:cubicBezTo>
                    <a:pt x="1467" y="2021"/>
                    <a:pt x="1466" y="2022"/>
                    <a:pt x="1440" y="2022"/>
                  </a:cubicBezTo>
                  <a:cubicBezTo>
                    <a:pt x="1254" y="2022"/>
                    <a:pt x="1067" y="2022"/>
                    <a:pt x="880" y="2022"/>
                  </a:cubicBezTo>
                  <a:cubicBezTo>
                    <a:pt x="866" y="2022"/>
                    <a:pt x="855" y="2017"/>
                    <a:pt x="845" y="2007"/>
                  </a:cubicBezTo>
                  <a:cubicBezTo>
                    <a:pt x="813" y="1974"/>
                    <a:pt x="779" y="1941"/>
                    <a:pt x="747" y="1908"/>
                  </a:cubicBezTo>
                  <a:cubicBezTo>
                    <a:pt x="736" y="1897"/>
                    <a:pt x="727" y="1895"/>
                    <a:pt x="713" y="1901"/>
                  </a:cubicBezTo>
                  <a:cubicBezTo>
                    <a:pt x="606" y="1944"/>
                    <a:pt x="497" y="1986"/>
                    <a:pt x="390" y="2029"/>
                  </a:cubicBezTo>
                  <a:cubicBezTo>
                    <a:pt x="374" y="2035"/>
                    <a:pt x="364" y="2034"/>
                    <a:pt x="351" y="2022"/>
                  </a:cubicBezTo>
                  <a:cubicBezTo>
                    <a:pt x="240" y="1912"/>
                    <a:pt x="129" y="1803"/>
                    <a:pt x="16" y="1695"/>
                  </a:cubicBezTo>
                  <a:cubicBezTo>
                    <a:pt x="1" y="1680"/>
                    <a:pt x="0" y="1669"/>
                    <a:pt x="7" y="1650"/>
                  </a:cubicBezTo>
                  <a:cubicBezTo>
                    <a:pt x="51" y="1544"/>
                    <a:pt x="94" y="1438"/>
                    <a:pt x="137" y="1332"/>
                  </a:cubicBezTo>
                  <a:cubicBezTo>
                    <a:pt x="144" y="1316"/>
                    <a:pt x="142" y="1307"/>
                    <a:pt x="130" y="1295"/>
                  </a:cubicBezTo>
                  <a:cubicBezTo>
                    <a:pt x="96" y="1263"/>
                    <a:pt x="64" y="1229"/>
                    <a:pt x="30" y="1197"/>
                  </a:cubicBezTo>
                  <a:cubicBezTo>
                    <a:pt x="21" y="1188"/>
                    <a:pt x="17" y="1178"/>
                    <a:pt x="17" y="1165"/>
                  </a:cubicBezTo>
                  <a:cubicBezTo>
                    <a:pt x="18" y="977"/>
                    <a:pt x="18" y="789"/>
                    <a:pt x="17" y="601"/>
                  </a:cubicBezTo>
                  <a:cubicBezTo>
                    <a:pt x="17" y="581"/>
                    <a:pt x="25" y="576"/>
                    <a:pt x="43" y="576"/>
                  </a:cubicBezTo>
                  <a:cubicBezTo>
                    <a:pt x="175" y="577"/>
                    <a:pt x="307" y="577"/>
                    <a:pt x="439" y="577"/>
                  </a:cubicBezTo>
                  <a:close/>
                  <a:moveTo>
                    <a:pt x="738" y="1700"/>
                  </a:moveTo>
                  <a:cubicBezTo>
                    <a:pt x="745" y="1698"/>
                    <a:pt x="749" y="1693"/>
                    <a:pt x="753" y="1688"/>
                  </a:cubicBezTo>
                  <a:cubicBezTo>
                    <a:pt x="814" y="1626"/>
                    <a:pt x="876" y="1564"/>
                    <a:pt x="937" y="1502"/>
                  </a:cubicBezTo>
                  <a:cubicBezTo>
                    <a:pt x="1054" y="1382"/>
                    <a:pt x="1173" y="1264"/>
                    <a:pt x="1289" y="1144"/>
                  </a:cubicBezTo>
                  <a:cubicBezTo>
                    <a:pt x="1377" y="1052"/>
                    <a:pt x="1474" y="969"/>
                    <a:pt x="1560" y="875"/>
                  </a:cubicBezTo>
                  <a:cubicBezTo>
                    <a:pt x="1572" y="861"/>
                    <a:pt x="1570" y="854"/>
                    <a:pt x="1558" y="843"/>
                  </a:cubicBezTo>
                  <a:cubicBezTo>
                    <a:pt x="1434" y="720"/>
                    <a:pt x="1311" y="596"/>
                    <a:pt x="1188" y="472"/>
                  </a:cubicBezTo>
                  <a:cubicBezTo>
                    <a:pt x="1174" y="458"/>
                    <a:pt x="1166" y="459"/>
                    <a:pt x="1153" y="473"/>
                  </a:cubicBezTo>
                  <a:cubicBezTo>
                    <a:pt x="1091" y="533"/>
                    <a:pt x="1037" y="600"/>
                    <a:pt x="976" y="661"/>
                  </a:cubicBezTo>
                  <a:cubicBezTo>
                    <a:pt x="870" y="767"/>
                    <a:pt x="763" y="874"/>
                    <a:pt x="657" y="980"/>
                  </a:cubicBezTo>
                  <a:cubicBezTo>
                    <a:pt x="555" y="1082"/>
                    <a:pt x="454" y="1184"/>
                    <a:pt x="351" y="1285"/>
                  </a:cubicBezTo>
                  <a:cubicBezTo>
                    <a:pt x="339" y="1297"/>
                    <a:pt x="338" y="1305"/>
                    <a:pt x="351" y="1318"/>
                  </a:cubicBezTo>
                  <a:cubicBezTo>
                    <a:pt x="475" y="1441"/>
                    <a:pt x="598" y="1564"/>
                    <a:pt x="722" y="1688"/>
                  </a:cubicBezTo>
                  <a:cubicBezTo>
                    <a:pt x="726" y="1692"/>
                    <a:pt x="730" y="1698"/>
                    <a:pt x="738" y="1700"/>
                  </a:cubicBezTo>
                  <a:close/>
                  <a:moveTo>
                    <a:pt x="1893" y="165"/>
                  </a:moveTo>
                  <a:cubicBezTo>
                    <a:pt x="1896" y="150"/>
                    <a:pt x="1889" y="144"/>
                    <a:pt x="1873" y="146"/>
                  </a:cubicBezTo>
                  <a:cubicBezTo>
                    <a:pt x="1859" y="148"/>
                    <a:pt x="1845" y="149"/>
                    <a:pt x="1831" y="151"/>
                  </a:cubicBezTo>
                  <a:cubicBezTo>
                    <a:pt x="1638" y="177"/>
                    <a:pt x="1464" y="247"/>
                    <a:pt x="1307" y="363"/>
                  </a:cubicBezTo>
                  <a:cubicBezTo>
                    <a:pt x="1294" y="372"/>
                    <a:pt x="1292" y="378"/>
                    <a:pt x="1304" y="390"/>
                  </a:cubicBezTo>
                  <a:cubicBezTo>
                    <a:pt x="1423" y="507"/>
                    <a:pt x="1540" y="625"/>
                    <a:pt x="1658" y="743"/>
                  </a:cubicBezTo>
                  <a:cubicBezTo>
                    <a:pt x="1671" y="756"/>
                    <a:pt x="1677" y="754"/>
                    <a:pt x="1686" y="740"/>
                  </a:cubicBezTo>
                  <a:cubicBezTo>
                    <a:pt x="1740" y="657"/>
                    <a:pt x="1786" y="570"/>
                    <a:pt x="1821" y="477"/>
                  </a:cubicBezTo>
                  <a:cubicBezTo>
                    <a:pt x="1858" y="377"/>
                    <a:pt x="1883" y="273"/>
                    <a:pt x="1893" y="165"/>
                  </a:cubicBezTo>
                  <a:close/>
                  <a:moveTo>
                    <a:pt x="713" y="727"/>
                  </a:moveTo>
                  <a:cubicBezTo>
                    <a:pt x="707" y="727"/>
                    <a:pt x="703" y="726"/>
                    <a:pt x="698" y="726"/>
                  </a:cubicBezTo>
                  <a:cubicBezTo>
                    <a:pt x="527" y="726"/>
                    <a:pt x="356" y="726"/>
                    <a:pt x="185" y="726"/>
                  </a:cubicBezTo>
                  <a:cubicBezTo>
                    <a:pt x="167" y="725"/>
                    <a:pt x="162" y="732"/>
                    <a:pt x="162" y="749"/>
                  </a:cubicBezTo>
                  <a:cubicBezTo>
                    <a:pt x="163" y="851"/>
                    <a:pt x="162" y="953"/>
                    <a:pt x="163" y="1054"/>
                  </a:cubicBezTo>
                  <a:cubicBezTo>
                    <a:pt x="164" y="1126"/>
                    <a:pt x="164" y="1126"/>
                    <a:pt x="214" y="1175"/>
                  </a:cubicBezTo>
                  <a:cubicBezTo>
                    <a:pt x="218" y="1180"/>
                    <a:pt x="223" y="1184"/>
                    <a:pt x="227" y="1188"/>
                  </a:cubicBezTo>
                  <a:cubicBezTo>
                    <a:pt x="236" y="1200"/>
                    <a:pt x="243" y="1199"/>
                    <a:pt x="254" y="1188"/>
                  </a:cubicBezTo>
                  <a:cubicBezTo>
                    <a:pt x="302" y="1140"/>
                    <a:pt x="351" y="1093"/>
                    <a:pt x="399" y="1045"/>
                  </a:cubicBezTo>
                  <a:cubicBezTo>
                    <a:pt x="500" y="945"/>
                    <a:pt x="600" y="845"/>
                    <a:pt x="701" y="745"/>
                  </a:cubicBezTo>
                  <a:cubicBezTo>
                    <a:pt x="705" y="740"/>
                    <a:pt x="711" y="737"/>
                    <a:pt x="713" y="727"/>
                  </a:cubicBezTo>
                  <a:close/>
                  <a:moveTo>
                    <a:pt x="1318" y="1330"/>
                  </a:moveTo>
                  <a:cubicBezTo>
                    <a:pt x="1306" y="1333"/>
                    <a:pt x="1303" y="1339"/>
                    <a:pt x="1298" y="1344"/>
                  </a:cubicBezTo>
                  <a:cubicBezTo>
                    <a:pt x="1206" y="1437"/>
                    <a:pt x="1115" y="1529"/>
                    <a:pt x="1023" y="1622"/>
                  </a:cubicBezTo>
                  <a:cubicBezTo>
                    <a:pt x="968" y="1678"/>
                    <a:pt x="912" y="1734"/>
                    <a:pt x="856" y="1790"/>
                  </a:cubicBezTo>
                  <a:cubicBezTo>
                    <a:pt x="845" y="1801"/>
                    <a:pt x="844" y="1807"/>
                    <a:pt x="855" y="1817"/>
                  </a:cubicBezTo>
                  <a:cubicBezTo>
                    <a:pt x="871" y="1831"/>
                    <a:pt x="885" y="1846"/>
                    <a:pt x="899" y="1861"/>
                  </a:cubicBezTo>
                  <a:cubicBezTo>
                    <a:pt x="910" y="1873"/>
                    <a:pt x="922" y="1877"/>
                    <a:pt x="938" y="1877"/>
                  </a:cubicBezTo>
                  <a:cubicBezTo>
                    <a:pt x="1054" y="1877"/>
                    <a:pt x="1171" y="1877"/>
                    <a:pt x="1288" y="1877"/>
                  </a:cubicBezTo>
                  <a:cubicBezTo>
                    <a:pt x="1318" y="1877"/>
                    <a:pt x="1318" y="1877"/>
                    <a:pt x="1318" y="1848"/>
                  </a:cubicBezTo>
                  <a:cubicBezTo>
                    <a:pt x="1318" y="1682"/>
                    <a:pt x="1318" y="1517"/>
                    <a:pt x="1318" y="1352"/>
                  </a:cubicBezTo>
                  <a:cubicBezTo>
                    <a:pt x="1318" y="1345"/>
                    <a:pt x="1318" y="1339"/>
                    <a:pt x="1318" y="1330"/>
                  </a:cubicBezTo>
                  <a:close/>
                  <a:moveTo>
                    <a:pt x="409" y="1864"/>
                  </a:moveTo>
                  <a:cubicBezTo>
                    <a:pt x="410" y="1864"/>
                    <a:pt x="412" y="1863"/>
                    <a:pt x="415" y="1862"/>
                  </a:cubicBezTo>
                  <a:cubicBezTo>
                    <a:pt x="478" y="1838"/>
                    <a:pt x="540" y="1814"/>
                    <a:pt x="603" y="1790"/>
                  </a:cubicBezTo>
                  <a:cubicBezTo>
                    <a:pt x="617" y="1785"/>
                    <a:pt x="614" y="1779"/>
                    <a:pt x="606" y="1772"/>
                  </a:cubicBezTo>
                  <a:cubicBezTo>
                    <a:pt x="496" y="1663"/>
                    <a:pt x="387" y="1553"/>
                    <a:pt x="278" y="1444"/>
                  </a:cubicBezTo>
                  <a:cubicBezTo>
                    <a:pt x="269" y="1435"/>
                    <a:pt x="263" y="1434"/>
                    <a:pt x="258" y="1448"/>
                  </a:cubicBezTo>
                  <a:cubicBezTo>
                    <a:pt x="235" y="1509"/>
                    <a:pt x="211" y="1570"/>
                    <a:pt x="188" y="1630"/>
                  </a:cubicBezTo>
                  <a:cubicBezTo>
                    <a:pt x="184" y="1641"/>
                    <a:pt x="183" y="1649"/>
                    <a:pt x="192" y="1657"/>
                  </a:cubicBezTo>
                  <a:cubicBezTo>
                    <a:pt x="259" y="1723"/>
                    <a:pt x="325" y="1790"/>
                    <a:pt x="392" y="1857"/>
                  </a:cubicBezTo>
                  <a:cubicBezTo>
                    <a:pt x="396" y="1861"/>
                    <a:pt x="400" y="1865"/>
                    <a:pt x="409" y="1864"/>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4" name="Freeform 89">
              <a:extLst>
                <a:ext uri="{FF2B5EF4-FFF2-40B4-BE49-F238E27FC236}">
                  <a16:creationId xmlns:a16="http://schemas.microsoft.com/office/drawing/2014/main" id="{31AFD04C-C7DE-41C7-B582-5C6A4BEAF560}"/>
                </a:ext>
              </a:extLst>
            </p:cNvPr>
            <p:cNvSpPr>
              <a:spLocks/>
            </p:cNvSpPr>
            <p:nvPr/>
          </p:nvSpPr>
          <p:spPr bwMode="auto">
            <a:xfrm>
              <a:off x="-3698875" y="1452562"/>
              <a:ext cx="874713" cy="876300"/>
            </a:xfrm>
            <a:custGeom>
              <a:avLst/>
              <a:gdLst>
                <a:gd name="T0" fmla="*/ 288 w 289"/>
                <a:gd name="T1" fmla="*/ 146 h 289"/>
                <a:gd name="T2" fmla="*/ 144 w 289"/>
                <a:gd name="T3" fmla="*/ 289 h 289"/>
                <a:gd name="T4" fmla="*/ 0 w 289"/>
                <a:gd name="T5" fmla="*/ 144 h 289"/>
                <a:gd name="T6" fmla="*/ 146 w 289"/>
                <a:gd name="T7" fmla="*/ 1 h 289"/>
                <a:gd name="T8" fmla="*/ 288 w 289"/>
                <a:gd name="T9" fmla="*/ 146 h 289"/>
              </a:gdLst>
              <a:ahLst/>
              <a:cxnLst>
                <a:cxn ang="0">
                  <a:pos x="T0" y="T1"/>
                </a:cxn>
                <a:cxn ang="0">
                  <a:pos x="T2" y="T3"/>
                </a:cxn>
                <a:cxn ang="0">
                  <a:pos x="T4" y="T5"/>
                </a:cxn>
                <a:cxn ang="0">
                  <a:pos x="T6" y="T7"/>
                </a:cxn>
                <a:cxn ang="0">
                  <a:pos x="T8" y="T9"/>
                </a:cxn>
              </a:cxnLst>
              <a:rect l="0" t="0" r="r" b="b"/>
              <a:pathLst>
                <a:path w="289" h="289">
                  <a:moveTo>
                    <a:pt x="288" y="146"/>
                  </a:moveTo>
                  <a:cubicBezTo>
                    <a:pt x="287" y="223"/>
                    <a:pt x="221" y="289"/>
                    <a:pt x="144" y="289"/>
                  </a:cubicBezTo>
                  <a:cubicBezTo>
                    <a:pt x="66" y="288"/>
                    <a:pt x="0" y="222"/>
                    <a:pt x="0" y="144"/>
                  </a:cubicBezTo>
                  <a:cubicBezTo>
                    <a:pt x="0" y="66"/>
                    <a:pt x="69" y="0"/>
                    <a:pt x="146" y="1"/>
                  </a:cubicBezTo>
                  <a:cubicBezTo>
                    <a:pt x="224" y="3"/>
                    <a:pt x="289" y="69"/>
                    <a:pt x="288" y="146"/>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6" name="Freeform 52">
            <a:extLst>
              <a:ext uri="{FF2B5EF4-FFF2-40B4-BE49-F238E27FC236}">
                <a16:creationId xmlns:a16="http://schemas.microsoft.com/office/drawing/2014/main" id="{21ECCC67-D827-4DEC-B021-7CDC732977CF}"/>
              </a:ext>
            </a:extLst>
          </p:cNvPr>
          <p:cNvSpPr>
            <a:spLocks/>
          </p:cNvSpPr>
          <p:nvPr/>
        </p:nvSpPr>
        <p:spPr bwMode="auto">
          <a:xfrm>
            <a:off x="4837139" y="3003397"/>
            <a:ext cx="399952" cy="534901"/>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58">
            <a:extLst>
              <a:ext uri="{FF2B5EF4-FFF2-40B4-BE49-F238E27FC236}">
                <a16:creationId xmlns:a16="http://schemas.microsoft.com/office/drawing/2014/main" id="{C4FE65CE-3682-46FD-BD2E-887DAADE11B3}"/>
              </a:ext>
            </a:extLst>
          </p:cNvPr>
          <p:cNvSpPr>
            <a:spLocks/>
          </p:cNvSpPr>
          <p:nvPr/>
        </p:nvSpPr>
        <p:spPr bwMode="auto">
          <a:xfrm>
            <a:off x="4778284" y="4078720"/>
            <a:ext cx="517662" cy="452162"/>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59" name="Straight Connector 158">
            <a:extLst>
              <a:ext uri="{FF2B5EF4-FFF2-40B4-BE49-F238E27FC236}">
                <a16:creationId xmlns:a16="http://schemas.microsoft.com/office/drawing/2014/main" id="{9199CBFD-230B-43FD-93B8-AAC1DFBAA5CC}"/>
              </a:ext>
            </a:extLst>
          </p:cNvPr>
          <p:cNvCxnSpPr>
            <a:cxnSpLocks/>
          </p:cNvCxnSpPr>
          <p:nvPr/>
        </p:nvCxnSpPr>
        <p:spPr>
          <a:xfrm flipH="1">
            <a:off x="2930112" y="3246453"/>
            <a:ext cx="301470" cy="0"/>
          </a:xfrm>
          <a:prstGeom prst="line">
            <a:avLst/>
          </a:prstGeom>
          <a:noFill/>
          <a:ln w="6350" cap="flat" cmpd="sng" algn="ctr">
            <a:solidFill>
              <a:schemeClr val="accent1"/>
            </a:solidFill>
            <a:prstDash val="solid"/>
            <a:headEnd type="triangle" w="med" len="med"/>
            <a:tailEnd type="none" w="med" len="med"/>
          </a:ln>
          <a:effectLst/>
        </p:spPr>
      </p:cxnSp>
      <p:sp>
        <p:nvSpPr>
          <p:cNvPr id="160" name="Freeform 14">
            <a:extLst>
              <a:ext uri="{FF2B5EF4-FFF2-40B4-BE49-F238E27FC236}">
                <a16:creationId xmlns:a16="http://schemas.microsoft.com/office/drawing/2014/main" id="{2F7B2BC1-E104-462D-A96A-E653014CF868}"/>
              </a:ext>
            </a:extLst>
          </p:cNvPr>
          <p:cNvSpPr>
            <a:spLocks/>
          </p:cNvSpPr>
          <p:nvPr/>
        </p:nvSpPr>
        <p:spPr bwMode="auto">
          <a:xfrm>
            <a:off x="4811091" y="1956246"/>
            <a:ext cx="452049" cy="506729"/>
          </a:xfrm>
          <a:custGeom>
            <a:avLst/>
            <a:gdLst>
              <a:gd name="T0" fmla="*/ 917 w 1834"/>
              <a:gd name="T1" fmla="*/ 0 h 2050"/>
              <a:gd name="T2" fmla="*/ 1731 w 1834"/>
              <a:gd name="T3" fmla="*/ 0 h 2050"/>
              <a:gd name="T4" fmla="*/ 1831 w 1834"/>
              <a:gd name="T5" fmla="*/ 66 h 2050"/>
              <a:gd name="T6" fmla="*/ 1834 w 1834"/>
              <a:gd name="T7" fmla="*/ 98 h 2050"/>
              <a:gd name="T8" fmla="*/ 1834 w 1834"/>
              <a:gd name="T9" fmla="*/ 1418 h 2050"/>
              <a:gd name="T10" fmla="*/ 1736 w 1834"/>
              <a:gd name="T11" fmla="*/ 1516 h 2050"/>
              <a:gd name="T12" fmla="*/ 1398 w 1834"/>
              <a:gd name="T13" fmla="*/ 1515 h 2050"/>
              <a:gd name="T14" fmla="*/ 1374 w 1834"/>
              <a:gd name="T15" fmla="*/ 1535 h 2050"/>
              <a:gd name="T16" fmla="*/ 1147 w 1834"/>
              <a:gd name="T17" fmla="*/ 1911 h 2050"/>
              <a:gd name="T18" fmla="*/ 718 w 1834"/>
              <a:gd name="T19" fmla="*/ 2037 h 2050"/>
              <a:gd name="T20" fmla="*/ 498 w 1834"/>
              <a:gd name="T21" fmla="*/ 1976 h 2050"/>
              <a:gd name="T22" fmla="*/ 490 w 1834"/>
              <a:gd name="T23" fmla="*/ 1949 h 2050"/>
              <a:gd name="T24" fmla="*/ 554 w 1834"/>
              <a:gd name="T25" fmla="*/ 1828 h 2050"/>
              <a:gd name="T26" fmla="*/ 584 w 1834"/>
              <a:gd name="T27" fmla="*/ 1819 h 2050"/>
              <a:gd name="T28" fmla="*/ 968 w 1834"/>
              <a:gd name="T29" fmla="*/ 1815 h 2050"/>
              <a:gd name="T30" fmla="*/ 1201 w 1834"/>
              <a:gd name="T31" fmla="*/ 1492 h 2050"/>
              <a:gd name="T32" fmla="*/ 860 w 1834"/>
              <a:gd name="T33" fmla="*/ 1001 h 2050"/>
              <a:gd name="T34" fmla="*/ 581 w 1834"/>
              <a:gd name="T35" fmla="*/ 1037 h 2050"/>
              <a:gd name="T36" fmla="*/ 555 w 1834"/>
              <a:gd name="T37" fmla="*/ 1029 h 2050"/>
              <a:gd name="T38" fmla="*/ 488 w 1834"/>
              <a:gd name="T39" fmla="*/ 902 h 2050"/>
              <a:gd name="T40" fmla="*/ 494 w 1834"/>
              <a:gd name="T41" fmla="*/ 881 h 2050"/>
              <a:gd name="T42" fmla="*/ 825 w 1834"/>
              <a:gd name="T43" fmla="*/ 817 h 2050"/>
              <a:gd name="T44" fmla="*/ 1320 w 1834"/>
              <a:gd name="T45" fmla="*/ 1153 h 2050"/>
              <a:gd name="T46" fmla="*/ 1374 w 1834"/>
              <a:gd name="T47" fmla="*/ 1317 h 2050"/>
              <a:gd name="T48" fmla="*/ 1400 w 1834"/>
              <a:gd name="T49" fmla="*/ 1340 h 2050"/>
              <a:gd name="T50" fmla="*/ 1640 w 1834"/>
              <a:gd name="T51" fmla="*/ 1339 h 2050"/>
              <a:gd name="T52" fmla="*/ 1658 w 1834"/>
              <a:gd name="T53" fmla="*/ 1321 h 2050"/>
              <a:gd name="T54" fmla="*/ 1658 w 1834"/>
              <a:gd name="T55" fmla="*/ 401 h 2050"/>
              <a:gd name="T56" fmla="*/ 1637 w 1834"/>
              <a:gd name="T57" fmla="*/ 383 h 2050"/>
              <a:gd name="T58" fmla="*/ 719 w 1834"/>
              <a:gd name="T59" fmla="*/ 383 h 2050"/>
              <a:gd name="T60" fmla="*/ 197 w 1834"/>
              <a:gd name="T61" fmla="*/ 383 h 2050"/>
              <a:gd name="T62" fmla="*/ 177 w 1834"/>
              <a:gd name="T63" fmla="*/ 402 h 2050"/>
              <a:gd name="T64" fmla="*/ 177 w 1834"/>
              <a:gd name="T65" fmla="*/ 1320 h 2050"/>
              <a:gd name="T66" fmla="*/ 197 w 1834"/>
              <a:gd name="T67" fmla="*/ 1339 h 2050"/>
              <a:gd name="T68" fmla="*/ 497 w 1834"/>
              <a:gd name="T69" fmla="*/ 1339 h 2050"/>
              <a:gd name="T70" fmla="*/ 522 w 1834"/>
              <a:gd name="T71" fmla="*/ 1323 h 2050"/>
              <a:gd name="T72" fmla="*/ 783 w 1834"/>
              <a:gd name="T73" fmla="*/ 1158 h 2050"/>
              <a:gd name="T74" fmla="*/ 1033 w 1834"/>
              <a:gd name="T75" fmla="*/ 1351 h 2050"/>
              <a:gd name="T76" fmla="*/ 958 w 1834"/>
              <a:gd name="T77" fmla="*/ 1623 h 2050"/>
              <a:gd name="T78" fmla="*/ 674 w 1834"/>
              <a:gd name="T79" fmla="*/ 1678 h 2050"/>
              <a:gd name="T80" fmla="*/ 521 w 1834"/>
              <a:gd name="T81" fmla="*/ 1528 h 2050"/>
              <a:gd name="T82" fmla="*/ 498 w 1834"/>
              <a:gd name="T83" fmla="*/ 1515 h 2050"/>
              <a:gd name="T84" fmla="*/ 102 w 1834"/>
              <a:gd name="T85" fmla="*/ 1516 h 2050"/>
              <a:gd name="T86" fmla="*/ 1 w 1834"/>
              <a:gd name="T87" fmla="*/ 1415 h 2050"/>
              <a:gd name="T88" fmla="*/ 1 w 1834"/>
              <a:gd name="T89" fmla="*/ 101 h 2050"/>
              <a:gd name="T90" fmla="*/ 103 w 1834"/>
              <a:gd name="T91" fmla="*/ 0 h 2050"/>
              <a:gd name="T92" fmla="*/ 917 w 1834"/>
              <a:gd name="T93"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4" h="2050">
                <a:moveTo>
                  <a:pt x="917" y="0"/>
                </a:moveTo>
                <a:cubicBezTo>
                  <a:pt x="1189" y="0"/>
                  <a:pt x="1460" y="0"/>
                  <a:pt x="1731" y="0"/>
                </a:cubicBezTo>
                <a:cubicBezTo>
                  <a:pt x="1783" y="0"/>
                  <a:pt x="1818" y="23"/>
                  <a:pt x="1831" y="66"/>
                </a:cubicBezTo>
                <a:cubicBezTo>
                  <a:pt x="1834" y="77"/>
                  <a:pt x="1834" y="87"/>
                  <a:pt x="1834" y="98"/>
                </a:cubicBezTo>
                <a:cubicBezTo>
                  <a:pt x="1834" y="538"/>
                  <a:pt x="1834" y="978"/>
                  <a:pt x="1834" y="1418"/>
                </a:cubicBezTo>
                <a:cubicBezTo>
                  <a:pt x="1834" y="1481"/>
                  <a:pt x="1799" y="1515"/>
                  <a:pt x="1736" y="1516"/>
                </a:cubicBezTo>
                <a:cubicBezTo>
                  <a:pt x="1623" y="1516"/>
                  <a:pt x="1511" y="1516"/>
                  <a:pt x="1398" y="1515"/>
                </a:cubicBezTo>
                <a:cubicBezTo>
                  <a:pt x="1381" y="1515"/>
                  <a:pt x="1377" y="1521"/>
                  <a:pt x="1374" y="1535"/>
                </a:cubicBezTo>
                <a:cubicBezTo>
                  <a:pt x="1348" y="1690"/>
                  <a:pt x="1271" y="1815"/>
                  <a:pt x="1147" y="1911"/>
                </a:cubicBezTo>
                <a:cubicBezTo>
                  <a:pt x="1021" y="2009"/>
                  <a:pt x="877" y="2050"/>
                  <a:pt x="718" y="2037"/>
                </a:cubicBezTo>
                <a:cubicBezTo>
                  <a:pt x="640" y="2030"/>
                  <a:pt x="567" y="2010"/>
                  <a:pt x="498" y="1976"/>
                </a:cubicBezTo>
                <a:cubicBezTo>
                  <a:pt x="484" y="1969"/>
                  <a:pt x="482" y="1963"/>
                  <a:pt x="490" y="1949"/>
                </a:cubicBezTo>
                <a:cubicBezTo>
                  <a:pt x="512" y="1909"/>
                  <a:pt x="534" y="1869"/>
                  <a:pt x="554" y="1828"/>
                </a:cubicBezTo>
                <a:cubicBezTo>
                  <a:pt x="562" y="1811"/>
                  <a:pt x="570" y="1812"/>
                  <a:pt x="584" y="1819"/>
                </a:cubicBezTo>
                <a:cubicBezTo>
                  <a:pt x="713" y="1881"/>
                  <a:pt x="842" y="1880"/>
                  <a:pt x="968" y="1815"/>
                </a:cubicBezTo>
                <a:cubicBezTo>
                  <a:pt x="1099" y="1747"/>
                  <a:pt x="1178" y="1638"/>
                  <a:pt x="1201" y="1492"/>
                </a:cubicBezTo>
                <a:cubicBezTo>
                  <a:pt x="1238" y="1261"/>
                  <a:pt x="1081" y="1050"/>
                  <a:pt x="860" y="1001"/>
                </a:cubicBezTo>
                <a:cubicBezTo>
                  <a:pt x="763" y="979"/>
                  <a:pt x="669" y="992"/>
                  <a:pt x="581" y="1037"/>
                </a:cubicBezTo>
                <a:cubicBezTo>
                  <a:pt x="567" y="1043"/>
                  <a:pt x="562" y="1043"/>
                  <a:pt x="555" y="1029"/>
                </a:cubicBezTo>
                <a:cubicBezTo>
                  <a:pt x="534" y="986"/>
                  <a:pt x="511" y="944"/>
                  <a:pt x="488" y="902"/>
                </a:cubicBezTo>
                <a:cubicBezTo>
                  <a:pt x="483" y="892"/>
                  <a:pt x="481" y="887"/>
                  <a:pt x="494" y="881"/>
                </a:cubicBezTo>
                <a:cubicBezTo>
                  <a:pt x="599" y="832"/>
                  <a:pt x="709" y="805"/>
                  <a:pt x="825" y="817"/>
                </a:cubicBezTo>
                <a:cubicBezTo>
                  <a:pt x="1048" y="841"/>
                  <a:pt x="1214" y="954"/>
                  <a:pt x="1320" y="1153"/>
                </a:cubicBezTo>
                <a:cubicBezTo>
                  <a:pt x="1347" y="1204"/>
                  <a:pt x="1365" y="1259"/>
                  <a:pt x="1374" y="1317"/>
                </a:cubicBezTo>
                <a:cubicBezTo>
                  <a:pt x="1376" y="1333"/>
                  <a:pt x="1381" y="1340"/>
                  <a:pt x="1400" y="1340"/>
                </a:cubicBezTo>
                <a:cubicBezTo>
                  <a:pt x="1480" y="1338"/>
                  <a:pt x="1560" y="1339"/>
                  <a:pt x="1640" y="1339"/>
                </a:cubicBezTo>
                <a:cubicBezTo>
                  <a:pt x="1654" y="1339"/>
                  <a:pt x="1658" y="1335"/>
                  <a:pt x="1658" y="1321"/>
                </a:cubicBezTo>
                <a:cubicBezTo>
                  <a:pt x="1657" y="1015"/>
                  <a:pt x="1657" y="708"/>
                  <a:pt x="1658" y="401"/>
                </a:cubicBezTo>
                <a:cubicBezTo>
                  <a:pt x="1658" y="384"/>
                  <a:pt x="1651" y="383"/>
                  <a:pt x="1637" y="383"/>
                </a:cubicBezTo>
                <a:cubicBezTo>
                  <a:pt x="1331" y="383"/>
                  <a:pt x="1025" y="383"/>
                  <a:pt x="719" y="383"/>
                </a:cubicBezTo>
                <a:cubicBezTo>
                  <a:pt x="545" y="383"/>
                  <a:pt x="371" y="383"/>
                  <a:pt x="197" y="383"/>
                </a:cubicBezTo>
                <a:cubicBezTo>
                  <a:pt x="182" y="383"/>
                  <a:pt x="177" y="386"/>
                  <a:pt x="177" y="402"/>
                </a:cubicBezTo>
                <a:cubicBezTo>
                  <a:pt x="177" y="708"/>
                  <a:pt x="177" y="1014"/>
                  <a:pt x="177" y="1320"/>
                </a:cubicBezTo>
                <a:cubicBezTo>
                  <a:pt x="177" y="1337"/>
                  <a:pt x="182" y="1339"/>
                  <a:pt x="197" y="1339"/>
                </a:cubicBezTo>
                <a:cubicBezTo>
                  <a:pt x="297" y="1339"/>
                  <a:pt x="397" y="1339"/>
                  <a:pt x="497" y="1339"/>
                </a:cubicBezTo>
                <a:cubicBezTo>
                  <a:pt x="510" y="1339"/>
                  <a:pt x="516" y="1336"/>
                  <a:pt x="522" y="1323"/>
                </a:cubicBezTo>
                <a:cubicBezTo>
                  <a:pt x="563" y="1220"/>
                  <a:pt x="671" y="1152"/>
                  <a:pt x="783" y="1158"/>
                </a:cubicBezTo>
                <a:cubicBezTo>
                  <a:pt x="903" y="1165"/>
                  <a:pt x="1002" y="1242"/>
                  <a:pt x="1033" y="1351"/>
                </a:cubicBezTo>
                <a:cubicBezTo>
                  <a:pt x="1063" y="1457"/>
                  <a:pt x="1037" y="1549"/>
                  <a:pt x="958" y="1623"/>
                </a:cubicBezTo>
                <a:cubicBezTo>
                  <a:pt x="876" y="1699"/>
                  <a:pt x="779" y="1716"/>
                  <a:pt x="674" y="1678"/>
                </a:cubicBezTo>
                <a:cubicBezTo>
                  <a:pt x="601" y="1651"/>
                  <a:pt x="549" y="1601"/>
                  <a:pt x="521" y="1528"/>
                </a:cubicBezTo>
                <a:cubicBezTo>
                  <a:pt x="516" y="1515"/>
                  <a:pt x="508" y="1515"/>
                  <a:pt x="498" y="1515"/>
                </a:cubicBezTo>
                <a:cubicBezTo>
                  <a:pt x="366" y="1516"/>
                  <a:pt x="234" y="1516"/>
                  <a:pt x="102" y="1516"/>
                </a:cubicBezTo>
                <a:cubicBezTo>
                  <a:pt x="35" y="1516"/>
                  <a:pt x="1" y="1481"/>
                  <a:pt x="1" y="1415"/>
                </a:cubicBezTo>
                <a:cubicBezTo>
                  <a:pt x="0" y="977"/>
                  <a:pt x="0" y="539"/>
                  <a:pt x="1" y="101"/>
                </a:cubicBezTo>
                <a:cubicBezTo>
                  <a:pt x="1" y="34"/>
                  <a:pt x="35" y="0"/>
                  <a:pt x="103" y="0"/>
                </a:cubicBezTo>
                <a:cubicBezTo>
                  <a:pt x="375" y="0"/>
                  <a:pt x="646" y="0"/>
                  <a:pt x="917" y="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CD5A1262-DDAD-4004-9781-EB8216FAE341}"/>
              </a:ext>
            </a:extLst>
          </p:cNvPr>
          <p:cNvGrpSpPr/>
          <p:nvPr/>
        </p:nvGrpSpPr>
        <p:grpSpPr>
          <a:xfrm>
            <a:off x="6229355" y="1882156"/>
            <a:ext cx="643099" cy="584602"/>
            <a:chOff x="5818841" y="1378760"/>
            <a:chExt cx="1989082" cy="1808145"/>
          </a:xfrm>
          <a:solidFill>
            <a:schemeClr val="accent1"/>
          </a:solidFill>
        </p:grpSpPr>
        <p:grpSp>
          <p:nvGrpSpPr>
            <p:cNvPr id="162" name="Group 161">
              <a:extLst>
                <a:ext uri="{FF2B5EF4-FFF2-40B4-BE49-F238E27FC236}">
                  <a16:creationId xmlns:a16="http://schemas.microsoft.com/office/drawing/2014/main" id="{C9D453BF-A88A-4F84-B291-AABEF433B837}"/>
                </a:ext>
              </a:extLst>
            </p:cNvPr>
            <p:cNvGrpSpPr/>
            <p:nvPr/>
          </p:nvGrpSpPr>
          <p:grpSpPr>
            <a:xfrm>
              <a:off x="5818841" y="1594518"/>
              <a:ext cx="1613414" cy="1145796"/>
              <a:chOff x="1404426" y="829385"/>
              <a:chExt cx="4882809" cy="3467638"/>
            </a:xfrm>
            <a:grpFill/>
          </p:grpSpPr>
          <p:sp>
            <p:nvSpPr>
              <p:cNvPr id="176" name="Freeform 6">
                <a:extLst>
                  <a:ext uri="{FF2B5EF4-FFF2-40B4-BE49-F238E27FC236}">
                    <a16:creationId xmlns:a16="http://schemas.microsoft.com/office/drawing/2014/main" id="{84B4823F-B3D1-48DC-9AD6-77FA8F05E66D}"/>
                  </a:ext>
                </a:extLst>
              </p:cNvPr>
              <p:cNvSpPr>
                <a:spLocks noEditPoints="1"/>
              </p:cNvSpPr>
              <p:nvPr/>
            </p:nvSpPr>
            <p:spPr bwMode="auto">
              <a:xfrm>
                <a:off x="1747460" y="1246733"/>
                <a:ext cx="1628764" cy="660009"/>
              </a:xfrm>
              <a:custGeom>
                <a:avLst/>
                <a:gdLst>
                  <a:gd name="T0" fmla="*/ 1199 w 1272"/>
                  <a:gd name="T1" fmla="*/ 0 h 514"/>
                  <a:gd name="T2" fmla="*/ 73 w 1272"/>
                  <a:gd name="T3" fmla="*/ 0 h 514"/>
                  <a:gd name="T4" fmla="*/ 0 w 1272"/>
                  <a:gd name="T5" fmla="*/ 74 h 514"/>
                  <a:gd name="T6" fmla="*/ 0 w 1272"/>
                  <a:gd name="T7" fmla="*/ 441 h 514"/>
                  <a:gd name="T8" fmla="*/ 73 w 1272"/>
                  <a:gd name="T9" fmla="*/ 514 h 514"/>
                  <a:gd name="T10" fmla="*/ 1199 w 1272"/>
                  <a:gd name="T11" fmla="*/ 514 h 514"/>
                  <a:gd name="T12" fmla="*/ 1272 w 1272"/>
                  <a:gd name="T13" fmla="*/ 441 h 514"/>
                  <a:gd name="T14" fmla="*/ 1272 w 1272"/>
                  <a:gd name="T15" fmla="*/ 74 h 514"/>
                  <a:gd name="T16" fmla="*/ 1199 w 1272"/>
                  <a:gd name="T17" fmla="*/ 0 h 514"/>
                  <a:gd name="T18" fmla="*/ 1126 w 1272"/>
                  <a:gd name="T19" fmla="*/ 367 h 514"/>
                  <a:gd name="T20" fmla="*/ 146 w 1272"/>
                  <a:gd name="T21" fmla="*/ 367 h 514"/>
                  <a:gd name="T22" fmla="*/ 146 w 1272"/>
                  <a:gd name="T23" fmla="*/ 147 h 514"/>
                  <a:gd name="T24" fmla="*/ 1126 w 1272"/>
                  <a:gd name="T25" fmla="*/ 147 h 514"/>
                  <a:gd name="T26" fmla="*/ 1126 w 1272"/>
                  <a:gd name="T27" fmla="*/ 367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2" h="514">
                    <a:moveTo>
                      <a:pt x="1199" y="0"/>
                    </a:moveTo>
                    <a:cubicBezTo>
                      <a:pt x="73" y="0"/>
                      <a:pt x="73" y="0"/>
                      <a:pt x="73" y="0"/>
                    </a:cubicBezTo>
                    <a:cubicBezTo>
                      <a:pt x="32" y="0"/>
                      <a:pt x="0" y="33"/>
                      <a:pt x="0" y="74"/>
                    </a:cubicBezTo>
                    <a:cubicBezTo>
                      <a:pt x="0" y="441"/>
                      <a:pt x="0" y="441"/>
                      <a:pt x="0" y="441"/>
                    </a:cubicBezTo>
                    <a:cubicBezTo>
                      <a:pt x="0" y="481"/>
                      <a:pt x="32" y="514"/>
                      <a:pt x="73" y="514"/>
                    </a:cubicBezTo>
                    <a:cubicBezTo>
                      <a:pt x="1199" y="514"/>
                      <a:pt x="1199" y="514"/>
                      <a:pt x="1199" y="514"/>
                    </a:cubicBezTo>
                    <a:cubicBezTo>
                      <a:pt x="1240" y="514"/>
                      <a:pt x="1272" y="481"/>
                      <a:pt x="1272" y="441"/>
                    </a:cubicBezTo>
                    <a:cubicBezTo>
                      <a:pt x="1272" y="74"/>
                      <a:pt x="1272" y="74"/>
                      <a:pt x="1272" y="74"/>
                    </a:cubicBezTo>
                    <a:cubicBezTo>
                      <a:pt x="1272" y="33"/>
                      <a:pt x="1240" y="0"/>
                      <a:pt x="1199" y="0"/>
                    </a:cubicBezTo>
                    <a:close/>
                    <a:moveTo>
                      <a:pt x="1126" y="367"/>
                    </a:moveTo>
                    <a:cubicBezTo>
                      <a:pt x="146" y="367"/>
                      <a:pt x="146" y="367"/>
                      <a:pt x="146" y="367"/>
                    </a:cubicBezTo>
                    <a:cubicBezTo>
                      <a:pt x="146" y="147"/>
                      <a:pt x="146" y="147"/>
                      <a:pt x="146" y="147"/>
                    </a:cubicBezTo>
                    <a:cubicBezTo>
                      <a:pt x="1126" y="147"/>
                      <a:pt x="1126" y="147"/>
                      <a:pt x="1126" y="147"/>
                    </a:cubicBezTo>
                    <a:lnTo>
                      <a:pt x="1126" y="3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FED6F837-E680-409D-9378-79BCD266FB56}"/>
                  </a:ext>
                </a:extLst>
              </p:cNvPr>
              <p:cNvGrpSpPr/>
              <p:nvPr/>
            </p:nvGrpSpPr>
            <p:grpSpPr>
              <a:xfrm rot="8063762" flipH="1">
                <a:off x="5508520" y="2191817"/>
                <a:ext cx="770595" cy="786835"/>
                <a:chOff x="10280124" y="5698471"/>
                <a:chExt cx="1746445" cy="1783265"/>
              </a:xfrm>
              <a:grpFill/>
            </p:grpSpPr>
            <p:sp>
              <p:nvSpPr>
                <p:cNvPr id="184" name="Freeform: Shape 183">
                  <a:extLst>
                    <a:ext uri="{FF2B5EF4-FFF2-40B4-BE49-F238E27FC236}">
                      <a16:creationId xmlns:a16="http://schemas.microsoft.com/office/drawing/2014/main" id="{89438641-374E-458A-8534-0ABDFC94D520}"/>
                    </a:ext>
                  </a:extLst>
                </p:cNvPr>
                <p:cNvSpPr>
                  <a:spLocks/>
                </p:cNvSpPr>
                <p:nvPr/>
              </p:nvSpPr>
              <p:spPr bwMode="auto">
                <a:xfrm>
                  <a:off x="10280124" y="5698471"/>
                  <a:ext cx="1746445" cy="1783265"/>
                </a:xfrm>
                <a:custGeom>
                  <a:avLst/>
                  <a:gdLst>
                    <a:gd name="connsiteX0" fmla="*/ 97365 w 1746445"/>
                    <a:gd name="connsiteY0" fmla="*/ 95905 h 1783265"/>
                    <a:gd name="connsiteX1" fmla="*/ 122268 w 1746445"/>
                    <a:gd name="connsiteY1" fmla="*/ 398405 h 1783265"/>
                    <a:gd name="connsiteX2" fmla="*/ 279352 w 1746445"/>
                    <a:gd name="connsiteY2" fmla="*/ 398405 h 1783265"/>
                    <a:gd name="connsiteX3" fmla="*/ 325328 w 1746445"/>
                    <a:gd name="connsiteY3" fmla="*/ 445460 h 1783265"/>
                    <a:gd name="connsiteX4" fmla="*/ 325328 w 1746445"/>
                    <a:gd name="connsiteY4" fmla="*/ 598151 h 1783265"/>
                    <a:gd name="connsiteX5" fmla="*/ 477622 w 1746445"/>
                    <a:gd name="connsiteY5" fmla="*/ 598151 h 1783265"/>
                    <a:gd name="connsiteX6" fmla="*/ 524556 w 1746445"/>
                    <a:gd name="connsiteY6" fmla="*/ 645206 h 1783265"/>
                    <a:gd name="connsiteX7" fmla="*/ 524556 w 1746445"/>
                    <a:gd name="connsiteY7" fmla="*/ 825746 h 1783265"/>
                    <a:gd name="connsiteX8" fmla="*/ 767844 w 1746445"/>
                    <a:gd name="connsiteY8" fmla="*/ 1069666 h 1783265"/>
                    <a:gd name="connsiteX9" fmla="*/ 780296 w 1746445"/>
                    <a:gd name="connsiteY9" fmla="*/ 1115761 h 1783265"/>
                    <a:gd name="connsiteX10" fmla="*/ 892361 w 1746445"/>
                    <a:gd name="connsiteY10" fmla="*/ 1559428 h 1783265"/>
                    <a:gd name="connsiteX11" fmla="*/ 1521653 w 1746445"/>
                    <a:gd name="connsiteY11" fmla="*/ 1559428 h 1783265"/>
                    <a:gd name="connsiteX12" fmla="*/ 1521653 w 1746445"/>
                    <a:gd name="connsiteY12" fmla="*/ 928500 h 1783265"/>
                    <a:gd name="connsiteX13" fmla="*/ 1080095 w 1746445"/>
                    <a:gd name="connsiteY13" fmla="*/ 815182 h 1783265"/>
                    <a:gd name="connsiteX14" fmla="*/ 1033162 w 1746445"/>
                    <a:gd name="connsiteY14" fmla="*/ 803659 h 1783265"/>
                    <a:gd name="connsiteX15" fmla="*/ 340653 w 1746445"/>
                    <a:gd name="connsiteY15" fmla="*/ 109350 h 1783265"/>
                    <a:gd name="connsiteX16" fmla="*/ 97365 w 1746445"/>
                    <a:gd name="connsiteY16" fmla="*/ 95905 h 1783265"/>
                    <a:gd name="connsiteX17" fmla="*/ 48129 w 1746445"/>
                    <a:gd name="connsiteY17" fmla="*/ 27 h 1783265"/>
                    <a:gd name="connsiteX18" fmla="*/ 363327 w 1746445"/>
                    <a:gd name="connsiteY18" fmla="*/ 16341 h 1783265"/>
                    <a:gd name="connsiteX19" fmla="*/ 393984 w 1746445"/>
                    <a:gd name="connsiteY19" fmla="*/ 30735 h 1783265"/>
                    <a:gd name="connsiteX20" fmla="*/ 1082820 w 1746445"/>
                    <a:gd name="connsiteY20" fmla="*/ 720711 h 1783265"/>
                    <a:gd name="connsiteX21" fmla="*/ 1588668 w 1746445"/>
                    <a:gd name="connsiteY21" fmla="*/ 860818 h 1783265"/>
                    <a:gd name="connsiteX22" fmla="*/ 1588668 w 1746445"/>
                    <a:gd name="connsiteY22" fmla="*/ 1625646 h 1783265"/>
                    <a:gd name="connsiteX23" fmla="*/ 825105 w 1746445"/>
                    <a:gd name="connsiteY23" fmla="*/ 1625646 h 1783265"/>
                    <a:gd name="connsiteX24" fmla="*/ 685230 w 1746445"/>
                    <a:gd name="connsiteY24" fmla="*/ 1119919 h 1783265"/>
                    <a:gd name="connsiteX25" fmla="*/ 443803 w 1746445"/>
                    <a:gd name="connsiteY25" fmla="*/ 878091 h 1783265"/>
                    <a:gd name="connsiteX26" fmla="*/ 430390 w 1746445"/>
                    <a:gd name="connsiteY26" fmla="*/ 844504 h 1783265"/>
                    <a:gd name="connsiteX27" fmla="*/ 430390 w 1746445"/>
                    <a:gd name="connsiteY27" fmla="*/ 691922 h 1783265"/>
                    <a:gd name="connsiteX28" fmla="*/ 278061 w 1746445"/>
                    <a:gd name="connsiteY28" fmla="*/ 691922 h 1783265"/>
                    <a:gd name="connsiteX29" fmla="*/ 231116 w 1746445"/>
                    <a:gd name="connsiteY29" fmla="*/ 644900 h 1783265"/>
                    <a:gd name="connsiteX30" fmla="*/ 231116 w 1746445"/>
                    <a:gd name="connsiteY30" fmla="*/ 492319 h 1783265"/>
                    <a:gd name="connsiteX31" fmla="*/ 78787 w 1746445"/>
                    <a:gd name="connsiteY31" fmla="*/ 492319 h 1783265"/>
                    <a:gd name="connsiteX32" fmla="*/ 32801 w 1746445"/>
                    <a:gd name="connsiteY32" fmla="*/ 449135 h 1783265"/>
                    <a:gd name="connsiteX33" fmla="*/ 227 w 1746445"/>
                    <a:gd name="connsiteY33" fmla="*/ 50887 h 1783265"/>
                    <a:gd name="connsiteX34" fmla="*/ 48129 w 1746445"/>
                    <a:gd name="connsiteY34" fmla="*/ 27 h 178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46445" h="1783265">
                      <a:moveTo>
                        <a:pt x="97365" y="95905"/>
                      </a:moveTo>
                      <a:cubicBezTo>
                        <a:pt x="97365" y="95905"/>
                        <a:pt x="97365" y="95905"/>
                        <a:pt x="122268" y="398405"/>
                      </a:cubicBezTo>
                      <a:cubicBezTo>
                        <a:pt x="122268" y="398405"/>
                        <a:pt x="122268" y="398405"/>
                        <a:pt x="279352" y="398405"/>
                      </a:cubicBezTo>
                      <a:cubicBezTo>
                        <a:pt x="303298" y="398405"/>
                        <a:pt x="325328" y="421453"/>
                        <a:pt x="325328" y="445460"/>
                      </a:cubicBezTo>
                      <a:cubicBezTo>
                        <a:pt x="325328" y="445460"/>
                        <a:pt x="325328" y="445460"/>
                        <a:pt x="325328" y="598151"/>
                      </a:cubicBezTo>
                      <a:cubicBezTo>
                        <a:pt x="325328" y="598151"/>
                        <a:pt x="325328" y="598151"/>
                        <a:pt x="477622" y="598151"/>
                      </a:cubicBezTo>
                      <a:cubicBezTo>
                        <a:pt x="502526" y="598151"/>
                        <a:pt x="524556" y="620238"/>
                        <a:pt x="524556" y="645206"/>
                      </a:cubicBezTo>
                      <a:cubicBezTo>
                        <a:pt x="524556" y="645206"/>
                        <a:pt x="524556" y="645206"/>
                        <a:pt x="524556" y="825746"/>
                      </a:cubicBezTo>
                      <a:cubicBezTo>
                        <a:pt x="524556" y="825746"/>
                        <a:pt x="524556" y="825746"/>
                        <a:pt x="767844" y="1069666"/>
                      </a:cubicBezTo>
                      <a:cubicBezTo>
                        <a:pt x="780296" y="1082150"/>
                        <a:pt x="785085" y="1100396"/>
                        <a:pt x="780296" y="1115761"/>
                      </a:cubicBezTo>
                      <a:cubicBezTo>
                        <a:pt x="735278" y="1268452"/>
                        <a:pt x="771675" y="1439388"/>
                        <a:pt x="892361" y="1559428"/>
                      </a:cubicBezTo>
                      <a:cubicBezTo>
                        <a:pt x="1066686" y="1734205"/>
                        <a:pt x="1347329" y="1734205"/>
                        <a:pt x="1521653" y="1559428"/>
                      </a:cubicBezTo>
                      <a:cubicBezTo>
                        <a:pt x="1695978" y="1384650"/>
                        <a:pt x="1695978" y="1103277"/>
                        <a:pt x="1521653" y="928500"/>
                      </a:cubicBezTo>
                      <a:cubicBezTo>
                        <a:pt x="1417250" y="830547"/>
                        <a:pt x="1254420" y="766206"/>
                        <a:pt x="1080095" y="815182"/>
                      </a:cubicBezTo>
                      <a:cubicBezTo>
                        <a:pt x="1063812" y="819984"/>
                        <a:pt x="1045614" y="816143"/>
                        <a:pt x="1033162" y="803659"/>
                      </a:cubicBezTo>
                      <a:cubicBezTo>
                        <a:pt x="1033162" y="803659"/>
                        <a:pt x="1033162" y="803659"/>
                        <a:pt x="340653" y="109350"/>
                      </a:cubicBezTo>
                      <a:cubicBezTo>
                        <a:pt x="340653" y="109350"/>
                        <a:pt x="340653" y="109350"/>
                        <a:pt x="97365" y="95905"/>
                      </a:cubicBezTo>
                      <a:close/>
                      <a:moveTo>
                        <a:pt x="48129" y="27"/>
                      </a:moveTo>
                      <a:cubicBezTo>
                        <a:pt x="48129" y="27"/>
                        <a:pt x="48129" y="27"/>
                        <a:pt x="363327" y="16341"/>
                      </a:cubicBezTo>
                      <a:cubicBezTo>
                        <a:pt x="374823" y="17300"/>
                        <a:pt x="386320" y="22098"/>
                        <a:pt x="393984" y="30735"/>
                      </a:cubicBezTo>
                      <a:cubicBezTo>
                        <a:pt x="393984" y="30735"/>
                        <a:pt x="393984" y="30735"/>
                        <a:pt x="1082820" y="720711"/>
                      </a:cubicBezTo>
                      <a:cubicBezTo>
                        <a:pt x="1259100" y="678488"/>
                        <a:pt x="1451668" y="723590"/>
                        <a:pt x="1588668" y="860818"/>
                      </a:cubicBezTo>
                      <a:cubicBezTo>
                        <a:pt x="1790816" y="1044108"/>
                        <a:pt x="1807103" y="1414526"/>
                        <a:pt x="1588668" y="1625646"/>
                      </a:cubicBezTo>
                      <a:cubicBezTo>
                        <a:pt x="1377898" y="1835805"/>
                        <a:pt x="1035875" y="1835805"/>
                        <a:pt x="825105" y="1625646"/>
                      </a:cubicBezTo>
                      <a:cubicBezTo>
                        <a:pt x="689063" y="1488418"/>
                        <a:pt x="644034" y="1295532"/>
                        <a:pt x="685230" y="1119919"/>
                      </a:cubicBezTo>
                      <a:cubicBezTo>
                        <a:pt x="685230" y="1119919"/>
                        <a:pt x="685230" y="1119919"/>
                        <a:pt x="443803" y="878091"/>
                      </a:cubicBezTo>
                      <a:cubicBezTo>
                        <a:pt x="435180" y="868495"/>
                        <a:pt x="430390" y="856979"/>
                        <a:pt x="430390" y="844504"/>
                      </a:cubicBezTo>
                      <a:cubicBezTo>
                        <a:pt x="430390" y="844504"/>
                        <a:pt x="430390" y="844504"/>
                        <a:pt x="430390" y="691922"/>
                      </a:cubicBezTo>
                      <a:cubicBezTo>
                        <a:pt x="430390" y="691922"/>
                        <a:pt x="430390" y="691922"/>
                        <a:pt x="278061" y="691922"/>
                      </a:cubicBezTo>
                      <a:cubicBezTo>
                        <a:pt x="254109" y="691922"/>
                        <a:pt x="232074" y="669851"/>
                        <a:pt x="231116" y="644900"/>
                      </a:cubicBezTo>
                      <a:cubicBezTo>
                        <a:pt x="231116" y="644900"/>
                        <a:pt x="231116" y="644900"/>
                        <a:pt x="231116" y="492319"/>
                      </a:cubicBezTo>
                      <a:cubicBezTo>
                        <a:pt x="231116" y="492319"/>
                        <a:pt x="231116" y="492319"/>
                        <a:pt x="78787" y="492319"/>
                      </a:cubicBezTo>
                      <a:cubicBezTo>
                        <a:pt x="55794" y="492319"/>
                        <a:pt x="34717" y="472166"/>
                        <a:pt x="32801" y="449135"/>
                      </a:cubicBezTo>
                      <a:cubicBezTo>
                        <a:pt x="32801" y="449135"/>
                        <a:pt x="32801" y="449135"/>
                        <a:pt x="227" y="50887"/>
                      </a:cubicBezTo>
                      <a:cubicBezTo>
                        <a:pt x="-2647" y="24018"/>
                        <a:pt x="22262" y="-933"/>
                        <a:pt x="4812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A0C261EA-04E7-477A-B6DB-A92AED8C035A}"/>
                    </a:ext>
                  </a:extLst>
                </p:cNvPr>
                <p:cNvSpPr>
                  <a:spLocks/>
                </p:cNvSpPr>
                <p:nvPr/>
              </p:nvSpPr>
              <p:spPr bwMode="auto">
                <a:xfrm>
                  <a:off x="11414873" y="6869931"/>
                  <a:ext cx="374743" cy="376188"/>
                </a:xfrm>
                <a:custGeom>
                  <a:avLst/>
                  <a:gdLst>
                    <a:gd name="connsiteX0" fmla="*/ 187688 w 374743"/>
                    <a:gd name="connsiteY0" fmla="*/ 94026 h 376188"/>
                    <a:gd name="connsiteX1" fmla="*/ 121285 w 374743"/>
                    <a:gd name="connsiteY1" fmla="*/ 121383 h 376188"/>
                    <a:gd name="connsiteX2" fmla="*/ 121285 w 374743"/>
                    <a:gd name="connsiteY2" fmla="*/ 254807 h 376188"/>
                    <a:gd name="connsiteX3" fmla="*/ 254091 w 374743"/>
                    <a:gd name="connsiteY3" fmla="*/ 254807 h 376188"/>
                    <a:gd name="connsiteX4" fmla="*/ 254091 w 374743"/>
                    <a:gd name="connsiteY4" fmla="*/ 121383 h 376188"/>
                    <a:gd name="connsiteX5" fmla="*/ 187688 w 374743"/>
                    <a:gd name="connsiteY5" fmla="*/ 94026 h 376188"/>
                    <a:gd name="connsiteX6" fmla="*/ 187372 w 374743"/>
                    <a:gd name="connsiteY6" fmla="*/ 0 h 376188"/>
                    <a:gd name="connsiteX7" fmla="*/ 320113 w 374743"/>
                    <a:gd name="connsiteY7" fmla="*/ 54840 h 376188"/>
                    <a:gd name="connsiteX8" fmla="*/ 320113 w 374743"/>
                    <a:gd name="connsiteY8" fmla="*/ 321348 h 376188"/>
                    <a:gd name="connsiteX9" fmla="*/ 54630 w 374743"/>
                    <a:gd name="connsiteY9" fmla="*/ 321348 h 376188"/>
                    <a:gd name="connsiteX10" fmla="*/ 54630 w 374743"/>
                    <a:gd name="connsiteY10" fmla="*/ 54840 h 376188"/>
                    <a:gd name="connsiteX11" fmla="*/ 187372 w 374743"/>
                    <a:gd name="connsiteY11" fmla="*/ 0 h 37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4743" h="376188">
                      <a:moveTo>
                        <a:pt x="187688" y="94026"/>
                      </a:moveTo>
                      <a:cubicBezTo>
                        <a:pt x="163802" y="94026"/>
                        <a:pt x="139916" y="103145"/>
                        <a:pt x="121285" y="121383"/>
                      </a:cubicBezTo>
                      <a:cubicBezTo>
                        <a:pt x="84978" y="158818"/>
                        <a:pt x="84978" y="217371"/>
                        <a:pt x="121285" y="254807"/>
                      </a:cubicBezTo>
                      <a:cubicBezTo>
                        <a:pt x="158547" y="291282"/>
                        <a:pt x="216829" y="291282"/>
                        <a:pt x="254091" y="254807"/>
                      </a:cubicBezTo>
                      <a:cubicBezTo>
                        <a:pt x="291353" y="217371"/>
                        <a:pt x="291353" y="158818"/>
                        <a:pt x="254091" y="121383"/>
                      </a:cubicBezTo>
                      <a:cubicBezTo>
                        <a:pt x="235460" y="103145"/>
                        <a:pt x="211574" y="94026"/>
                        <a:pt x="187688" y="94026"/>
                      </a:cubicBezTo>
                      <a:close/>
                      <a:moveTo>
                        <a:pt x="187372" y="0"/>
                      </a:moveTo>
                      <a:cubicBezTo>
                        <a:pt x="235532" y="0"/>
                        <a:pt x="283693" y="18280"/>
                        <a:pt x="320113" y="54840"/>
                      </a:cubicBezTo>
                      <a:cubicBezTo>
                        <a:pt x="392953" y="127962"/>
                        <a:pt x="392953" y="248227"/>
                        <a:pt x="320113" y="321348"/>
                      </a:cubicBezTo>
                      <a:cubicBezTo>
                        <a:pt x="247273" y="394469"/>
                        <a:pt x="127470" y="394469"/>
                        <a:pt x="54630" y="321348"/>
                      </a:cubicBezTo>
                      <a:cubicBezTo>
                        <a:pt x="-18210" y="248227"/>
                        <a:pt x="-18210" y="127962"/>
                        <a:pt x="54630" y="54840"/>
                      </a:cubicBezTo>
                      <a:cubicBezTo>
                        <a:pt x="91050" y="18280"/>
                        <a:pt x="139211" y="0"/>
                        <a:pt x="1873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6F775A19-8AB1-477F-9BB9-FD275FCFF654}"/>
                  </a:ext>
                </a:extLst>
              </p:cNvPr>
              <p:cNvSpPr>
                <a:spLocks/>
              </p:cNvSpPr>
              <p:nvPr/>
            </p:nvSpPr>
            <p:spPr bwMode="auto">
              <a:xfrm>
                <a:off x="4871959" y="1669874"/>
                <a:ext cx="1070617" cy="1358931"/>
              </a:xfrm>
              <a:custGeom>
                <a:avLst/>
                <a:gdLst>
                  <a:gd name="connsiteX0" fmla="*/ 337049 w 337049"/>
                  <a:gd name="connsiteY0" fmla="*/ 414139 h 427814"/>
                  <a:gd name="connsiteX1" fmla="*/ 337049 w 337049"/>
                  <a:gd name="connsiteY1" fmla="*/ 427814 h 427814"/>
                  <a:gd name="connsiteX2" fmla="*/ 323920 w 337049"/>
                  <a:gd name="connsiteY2" fmla="*/ 427814 h 427814"/>
                  <a:gd name="connsiteX3" fmla="*/ 113936 w 337049"/>
                  <a:gd name="connsiteY3" fmla="*/ 391721 h 427814"/>
                  <a:gd name="connsiteX4" fmla="*/ 263655 w 337049"/>
                  <a:gd name="connsiteY4" fmla="*/ 391721 h 427814"/>
                  <a:gd name="connsiteX5" fmla="*/ 263266 w 337049"/>
                  <a:gd name="connsiteY5" fmla="*/ 398104 h 427814"/>
                  <a:gd name="connsiteX6" fmla="*/ 278301 w 337049"/>
                  <a:gd name="connsiteY6" fmla="*/ 416983 h 427814"/>
                  <a:gd name="connsiteX7" fmla="*/ 286927 w 337049"/>
                  <a:gd name="connsiteY7" fmla="*/ 427814 h 427814"/>
                  <a:gd name="connsiteX8" fmla="*/ 106649 w 337049"/>
                  <a:gd name="connsiteY8" fmla="*/ 427814 h 427814"/>
                  <a:gd name="connsiteX9" fmla="*/ 207007 w 337049"/>
                  <a:gd name="connsiteY9" fmla="*/ 61571 h 427814"/>
                  <a:gd name="connsiteX10" fmla="*/ 207007 w 337049"/>
                  <a:gd name="connsiteY10" fmla="*/ 130574 h 427814"/>
                  <a:gd name="connsiteX11" fmla="*/ 275478 w 337049"/>
                  <a:gd name="connsiteY11" fmla="*/ 130574 h 427814"/>
                  <a:gd name="connsiteX12" fmla="*/ 0 w 337049"/>
                  <a:gd name="connsiteY12" fmla="*/ 0 h 427814"/>
                  <a:gd name="connsiteX13" fmla="*/ 196391 w 337049"/>
                  <a:gd name="connsiteY13" fmla="*/ 0 h 427814"/>
                  <a:gd name="connsiteX14" fmla="*/ 323101 w 337049"/>
                  <a:gd name="connsiteY14" fmla="*/ 126710 h 427814"/>
                  <a:gd name="connsiteX15" fmla="*/ 309689 w 337049"/>
                  <a:gd name="connsiteY15" fmla="*/ 123487 h 427814"/>
                  <a:gd name="connsiteX16" fmla="*/ 254563 w 337049"/>
                  <a:gd name="connsiteY16" fmla="*/ 144283 h 427814"/>
                  <a:gd name="connsiteX17" fmla="*/ 238425 w 337049"/>
                  <a:gd name="connsiteY17" fmla="*/ 166667 h 427814"/>
                  <a:gd name="connsiteX18" fmla="*/ 170913 w 337049"/>
                  <a:gd name="connsiteY18" fmla="*/ 166667 h 427814"/>
                  <a:gd name="connsiteX19" fmla="*/ 170913 w 337049"/>
                  <a:gd name="connsiteY19" fmla="*/ 36094 h 427814"/>
                  <a:gd name="connsiteX20" fmla="*/ 36094 w 337049"/>
                  <a:gd name="connsiteY20" fmla="*/ 36094 h 427814"/>
                  <a:gd name="connsiteX21" fmla="*/ 36094 w 337049"/>
                  <a:gd name="connsiteY21" fmla="*/ 296667 h 427814"/>
                  <a:gd name="connsiteX22" fmla="*/ 16231 w 337049"/>
                  <a:gd name="connsiteY22" fmla="*/ 292657 h 427814"/>
                  <a:gd name="connsiteX23" fmla="*/ 0 w 337049"/>
                  <a:gd name="connsiteY23" fmla="*/ 295934 h 42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7049" h="427814">
                    <a:moveTo>
                      <a:pt x="337049" y="414139"/>
                    </a:moveTo>
                    <a:lnTo>
                      <a:pt x="337049" y="427814"/>
                    </a:lnTo>
                    <a:lnTo>
                      <a:pt x="323920" y="427814"/>
                    </a:lnTo>
                    <a:close/>
                    <a:moveTo>
                      <a:pt x="113936" y="391721"/>
                    </a:moveTo>
                    <a:lnTo>
                      <a:pt x="263655" y="391721"/>
                    </a:lnTo>
                    <a:lnTo>
                      <a:pt x="263266" y="398104"/>
                    </a:lnTo>
                    <a:cubicBezTo>
                      <a:pt x="263266" y="398104"/>
                      <a:pt x="263266" y="398104"/>
                      <a:pt x="278301" y="416983"/>
                    </a:cubicBezTo>
                    <a:lnTo>
                      <a:pt x="286927" y="427814"/>
                    </a:lnTo>
                    <a:lnTo>
                      <a:pt x="106649" y="427814"/>
                    </a:lnTo>
                    <a:close/>
                    <a:moveTo>
                      <a:pt x="207007" y="61571"/>
                    </a:moveTo>
                    <a:lnTo>
                      <a:pt x="207007" y="130574"/>
                    </a:lnTo>
                    <a:lnTo>
                      <a:pt x="275478" y="130574"/>
                    </a:lnTo>
                    <a:close/>
                    <a:moveTo>
                      <a:pt x="0" y="0"/>
                    </a:moveTo>
                    <a:lnTo>
                      <a:pt x="196391" y="0"/>
                    </a:lnTo>
                    <a:lnTo>
                      <a:pt x="323101" y="126710"/>
                    </a:lnTo>
                    <a:lnTo>
                      <a:pt x="309689" y="123487"/>
                    </a:lnTo>
                    <a:cubicBezTo>
                      <a:pt x="288439" y="122800"/>
                      <a:pt x="268927" y="130799"/>
                      <a:pt x="254563" y="144283"/>
                    </a:cubicBezTo>
                    <a:lnTo>
                      <a:pt x="238425" y="166667"/>
                    </a:lnTo>
                    <a:lnTo>
                      <a:pt x="170913" y="166667"/>
                    </a:lnTo>
                    <a:lnTo>
                      <a:pt x="170913" y="36094"/>
                    </a:lnTo>
                    <a:lnTo>
                      <a:pt x="36094" y="36094"/>
                    </a:lnTo>
                    <a:lnTo>
                      <a:pt x="36094" y="296667"/>
                    </a:lnTo>
                    <a:lnTo>
                      <a:pt x="16231" y="292657"/>
                    </a:lnTo>
                    <a:lnTo>
                      <a:pt x="0" y="295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AAA314BD-92DC-4F9E-BBAE-A38C8552B0C5}"/>
                  </a:ext>
                </a:extLst>
              </p:cNvPr>
              <p:cNvSpPr>
                <a:spLocks/>
              </p:cNvSpPr>
              <p:nvPr/>
            </p:nvSpPr>
            <p:spPr bwMode="auto">
              <a:xfrm>
                <a:off x="3189315" y="2928835"/>
                <a:ext cx="940880" cy="1368188"/>
              </a:xfrm>
              <a:custGeom>
                <a:avLst/>
                <a:gdLst>
                  <a:gd name="connsiteX0" fmla="*/ 211137 w 2233613"/>
                  <a:gd name="connsiteY0" fmla="*/ 1533526 h 3248026"/>
                  <a:gd name="connsiteX1" fmla="*/ 211137 w 2233613"/>
                  <a:gd name="connsiteY1" fmla="*/ 3036889 h 3248026"/>
                  <a:gd name="connsiteX2" fmla="*/ 2022475 w 2233613"/>
                  <a:gd name="connsiteY2" fmla="*/ 3036889 h 3248026"/>
                  <a:gd name="connsiteX3" fmla="*/ 2022475 w 2233613"/>
                  <a:gd name="connsiteY3" fmla="*/ 1533526 h 3248026"/>
                  <a:gd name="connsiteX4" fmla="*/ 1116807 w 2233613"/>
                  <a:gd name="connsiteY4" fmla="*/ 211138 h 3248026"/>
                  <a:gd name="connsiteX5" fmla="*/ 511175 w 2233613"/>
                  <a:gd name="connsiteY5" fmla="*/ 818337 h 3248026"/>
                  <a:gd name="connsiteX6" fmla="*/ 511175 w 2233613"/>
                  <a:gd name="connsiteY6" fmla="*/ 1323976 h 3248026"/>
                  <a:gd name="connsiteX7" fmla="*/ 1722438 w 2233613"/>
                  <a:gd name="connsiteY7" fmla="*/ 1323976 h 3248026"/>
                  <a:gd name="connsiteX8" fmla="*/ 1722438 w 2233613"/>
                  <a:gd name="connsiteY8" fmla="*/ 818337 h 3248026"/>
                  <a:gd name="connsiteX9" fmla="*/ 1116807 w 2233613"/>
                  <a:gd name="connsiteY9" fmla="*/ 211138 h 3248026"/>
                  <a:gd name="connsiteX10" fmla="*/ 1116807 w 2233613"/>
                  <a:gd name="connsiteY10" fmla="*/ 0 h 3248026"/>
                  <a:gd name="connsiteX11" fmla="*/ 1931773 w 2233613"/>
                  <a:gd name="connsiteY11" fmla="*/ 818485 h 3248026"/>
                  <a:gd name="connsiteX12" fmla="*/ 1931773 w 2233613"/>
                  <a:gd name="connsiteY12" fmla="*/ 1323830 h 3248026"/>
                  <a:gd name="connsiteX13" fmla="*/ 2127969 w 2233613"/>
                  <a:gd name="connsiteY13" fmla="*/ 1323830 h 3248026"/>
                  <a:gd name="connsiteX14" fmla="*/ 2233613 w 2233613"/>
                  <a:gd name="connsiteY14" fmla="*/ 1429650 h 3248026"/>
                  <a:gd name="connsiteX15" fmla="*/ 2233613 w 2233613"/>
                  <a:gd name="connsiteY15" fmla="*/ 3142206 h 3248026"/>
                  <a:gd name="connsiteX16" fmla="*/ 2127969 w 2233613"/>
                  <a:gd name="connsiteY16" fmla="*/ 3248026 h 3248026"/>
                  <a:gd name="connsiteX17" fmla="*/ 105644 w 2233613"/>
                  <a:gd name="connsiteY17" fmla="*/ 3248026 h 3248026"/>
                  <a:gd name="connsiteX18" fmla="*/ 0 w 2233613"/>
                  <a:gd name="connsiteY18" fmla="*/ 3142206 h 3248026"/>
                  <a:gd name="connsiteX19" fmla="*/ 0 w 2233613"/>
                  <a:gd name="connsiteY19" fmla="*/ 1429650 h 3248026"/>
                  <a:gd name="connsiteX20" fmla="*/ 105644 w 2233613"/>
                  <a:gd name="connsiteY20" fmla="*/ 1323830 h 3248026"/>
                  <a:gd name="connsiteX21" fmla="*/ 299684 w 2233613"/>
                  <a:gd name="connsiteY21" fmla="*/ 1323830 h 3248026"/>
                  <a:gd name="connsiteX22" fmla="*/ 299684 w 2233613"/>
                  <a:gd name="connsiteY22" fmla="*/ 818485 h 3248026"/>
                  <a:gd name="connsiteX23" fmla="*/ 1116807 w 2233613"/>
                  <a:gd name="connsiteY23" fmla="*/ 0 h 324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33613" h="3248026">
                    <a:moveTo>
                      <a:pt x="211137" y="1533526"/>
                    </a:moveTo>
                    <a:lnTo>
                      <a:pt x="211137" y="3036889"/>
                    </a:lnTo>
                    <a:lnTo>
                      <a:pt x="2022475" y="3036889"/>
                    </a:lnTo>
                    <a:lnTo>
                      <a:pt x="2022475" y="1533526"/>
                    </a:lnTo>
                    <a:close/>
                    <a:moveTo>
                      <a:pt x="1116807" y="211138"/>
                    </a:moveTo>
                    <a:cubicBezTo>
                      <a:pt x="782739" y="211138"/>
                      <a:pt x="511175" y="483405"/>
                      <a:pt x="511175" y="818337"/>
                    </a:cubicBezTo>
                    <a:lnTo>
                      <a:pt x="511175" y="1323976"/>
                    </a:lnTo>
                    <a:cubicBezTo>
                      <a:pt x="511175" y="1323976"/>
                      <a:pt x="511175" y="1323976"/>
                      <a:pt x="1722438" y="1323976"/>
                    </a:cubicBezTo>
                    <a:cubicBezTo>
                      <a:pt x="1722438" y="1323976"/>
                      <a:pt x="1722438" y="1323976"/>
                      <a:pt x="1722438" y="818337"/>
                    </a:cubicBezTo>
                    <a:cubicBezTo>
                      <a:pt x="1722438" y="483405"/>
                      <a:pt x="1450874" y="211138"/>
                      <a:pt x="1116807" y="211138"/>
                    </a:cubicBezTo>
                    <a:close/>
                    <a:moveTo>
                      <a:pt x="1116807" y="0"/>
                    </a:moveTo>
                    <a:cubicBezTo>
                      <a:pt x="1567410" y="0"/>
                      <a:pt x="1931773" y="367131"/>
                      <a:pt x="1931773" y="818485"/>
                    </a:cubicBezTo>
                    <a:cubicBezTo>
                      <a:pt x="1931773" y="818485"/>
                      <a:pt x="1931773" y="818485"/>
                      <a:pt x="1931773" y="1323830"/>
                    </a:cubicBezTo>
                    <a:cubicBezTo>
                      <a:pt x="1931773" y="1323830"/>
                      <a:pt x="1931773" y="1323830"/>
                      <a:pt x="2127969" y="1323830"/>
                    </a:cubicBezTo>
                    <a:cubicBezTo>
                      <a:pt x="2186181" y="1323830"/>
                      <a:pt x="2233613" y="1369181"/>
                      <a:pt x="2233613" y="1429650"/>
                    </a:cubicBezTo>
                    <a:cubicBezTo>
                      <a:pt x="2233613" y="1429650"/>
                      <a:pt x="2233613" y="1429650"/>
                      <a:pt x="2233613" y="3142206"/>
                    </a:cubicBezTo>
                    <a:cubicBezTo>
                      <a:pt x="2233613" y="3200515"/>
                      <a:pt x="2186181" y="3248026"/>
                      <a:pt x="2127969" y="3248026"/>
                    </a:cubicBezTo>
                    <a:cubicBezTo>
                      <a:pt x="2127969" y="3248026"/>
                      <a:pt x="2127969" y="3248026"/>
                      <a:pt x="105644" y="3248026"/>
                    </a:cubicBezTo>
                    <a:cubicBezTo>
                      <a:pt x="47432" y="3248026"/>
                      <a:pt x="0" y="3200515"/>
                      <a:pt x="0" y="3142206"/>
                    </a:cubicBezTo>
                    <a:cubicBezTo>
                      <a:pt x="0" y="3142206"/>
                      <a:pt x="0" y="3142206"/>
                      <a:pt x="0" y="1429650"/>
                    </a:cubicBezTo>
                    <a:cubicBezTo>
                      <a:pt x="0" y="1369181"/>
                      <a:pt x="47432" y="1323830"/>
                      <a:pt x="105644" y="1323830"/>
                    </a:cubicBezTo>
                    <a:cubicBezTo>
                      <a:pt x="105644" y="1323830"/>
                      <a:pt x="105644" y="1323830"/>
                      <a:pt x="299684" y="1323830"/>
                    </a:cubicBezTo>
                    <a:cubicBezTo>
                      <a:pt x="299684" y="1323830"/>
                      <a:pt x="299684" y="1323830"/>
                      <a:pt x="299684" y="818485"/>
                    </a:cubicBezTo>
                    <a:cubicBezTo>
                      <a:pt x="299684" y="367131"/>
                      <a:pt x="666203" y="0"/>
                      <a:pt x="1116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0" name="Circle: Hollow 179">
                <a:extLst>
                  <a:ext uri="{FF2B5EF4-FFF2-40B4-BE49-F238E27FC236}">
                    <a16:creationId xmlns:a16="http://schemas.microsoft.com/office/drawing/2014/main" id="{88B46B5A-E900-4843-BEAD-979ED8F6E130}"/>
                  </a:ext>
                </a:extLst>
              </p:cNvPr>
              <p:cNvSpPr/>
              <p:nvPr/>
            </p:nvSpPr>
            <p:spPr bwMode="auto">
              <a:xfrm>
                <a:off x="4686612" y="2651052"/>
                <a:ext cx="501133" cy="501134"/>
              </a:xfrm>
              <a:prstGeom prst="donut">
                <a:avLst>
                  <a:gd name="adj" fmla="val 12552"/>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81" name="Freeform: Shape 180">
                <a:extLst>
                  <a:ext uri="{FF2B5EF4-FFF2-40B4-BE49-F238E27FC236}">
                    <a16:creationId xmlns:a16="http://schemas.microsoft.com/office/drawing/2014/main" id="{83D92E78-FBA3-4CE4-862C-D1DE3C74DCB2}"/>
                  </a:ext>
                </a:extLst>
              </p:cNvPr>
              <p:cNvSpPr/>
              <p:nvPr/>
            </p:nvSpPr>
            <p:spPr bwMode="auto">
              <a:xfrm>
                <a:off x="4918715" y="3068072"/>
                <a:ext cx="186686" cy="373381"/>
              </a:xfrm>
              <a:custGeom>
                <a:avLst/>
                <a:gdLst>
                  <a:gd name="connsiteX0" fmla="*/ 0 w 356235"/>
                  <a:gd name="connsiteY0" fmla="*/ 0 h 398145"/>
                  <a:gd name="connsiteX1" fmla="*/ 0 w 356235"/>
                  <a:gd name="connsiteY1" fmla="*/ 388620 h 398145"/>
                  <a:gd name="connsiteX2" fmla="*/ 40005 w 356235"/>
                  <a:gd name="connsiteY2" fmla="*/ 390525 h 398145"/>
                  <a:gd name="connsiteX3" fmla="*/ 169545 w 356235"/>
                  <a:gd name="connsiteY3" fmla="*/ 304800 h 398145"/>
                  <a:gd name="connsiteX4" fmla="*/ 356235 w 356235"/>
                  <a:gd name="connsiteY4" fmla="*/ 398145 h 398145"/>
                  <a:gd name="connsiteX5" fmla="*/ 356235 w 356235"/>
                  <a:gd name="connsiteY5" fmla="*/ 24765 h 398145"/>
                  <a:gd name="connsiteX6" fmla="*/ 308610 w 356235"/>
                  <a:gd name="connsiteY6" fmla="*/ 30480 h 398145"/>
                  <a:gd name="connsiteX7" fmla="*/ 308610 w 356235"/>
                  <a:gd name="connsiteY7" fmla="*/ 297180 h 398145"/>
                  <a:gd name="connsiteX8" fmla="*/ 177165 w 356235"/>
                  <a:gd name="connsiteY8" fmla="*/ 243840 h 398145"/>
                  <a:gd name="connsiteX9" fmla="*/ 177165 w 356235"/>
                  <a:gd name="connsiteY9" fmla="*/ 314325 h 398145"/>
                  <a:gd name="connsiteX0" fmla="*/ 0 w 356235"/>
                  <a:gd name="connsiteY0" fmla="*/ 0 h 398145"/>
                  <a:gd name="connsiteX1" fmla="*/ 0 w 356235"/>
                  <a:gd name="connsiteY1" fmla="*/ 388620 h 398145"/>
                  <a:gd name="connsiteX2" fmla="*/ 169545 w 356235"/>
                  <a:gd name="connsiteY2" fmla="*/ 304800 h 398145"/>
                  <a:gd name="connsiteX3" fmla="*/ 356235 w 356235"/>
                  <a:gd name="connsiteY3" fmla="*/ 398145 h 398145"/>
                  <a:gd name="connsiteX4" fmla="*/ 356235 w 356235"/>
                  <a:gd name="connsiteY4" fmla="*/ 24765 h 398145"/>
                  <a:gd name="connsiteX5" fmla="*/ 308610 w 356235"/>
                  <a:gd name="connsiteY5" fmla="*/ 30480 h 398145"/>
                  <a:gd name="connsiteX6" fmla="*/ 308610 w 356235"/>
                  <a:gd name="connsiteY6" fmla="*/ 297180 h 398145"/>
                  <a:gd name="connsiteX7" fmla="*/ 177165 w 356235"/>
                  <a:gd name="connsiteY7" fmla="*/ 243840 h 398145"/>
                  <a:gd name="connsiteX8" fmla="*/ 177165 w 356235"/>
                  <a:gd name="connsiteY8" fmla="*/ 314325 h 398145"/>
                  <a:gd name="connsiteX0" fmla="*/ 0 w 356235"/>
                  <a:gd name="connsiteY0" fmla="*/ 0 h 398145"/>
                  <a:gd name="connsiteX1" fmla="*/ 169545 w 356235"/>
                  <a:gd name="connsiteY1" fmla="*/ 304800 h 398145"/>
                  <a:gd name="connsiteX2" fmla="*/ 356235 w 356235"/>
                  <a:gd name="connsiteY2" fmla="*/ 398145 h 398145"/>
                  <a:gd name="connsiteX3" fmla="*/ 356235 w 356235"/>
                  <a:gd name="connsiteY3" fmla="*/ 24765 h 398145"/>
                  <a:gd name="connsiteX4" fmla="*/ 308610 w 356235"/>
                  <a:gd name="connsiteY4" fmla="*/ 30480 h 398145"/>
                  <a:gd name="connsiteX5" fmla="*/ 308610 w 356235"/>
                  <a:gd name="connsiteY5" fmla="*/ 297180 h 398145"/>
                  <a:gd name="connsiteX6" fmla="*/ 177165 w 356235"/>
                  <a:gd name="connsiteY6" fmla="*/ 243840 h 398145"/>
                  <a:gd name="connsiteX7" fmla="*/ 177165 w 356235"/>
                  <a:gd name="connsiteY7" fmla="*/ 314325 h 398145"/>
                  <a:gd name="connsiteX0" fmla="*/ 0 w 186690"/>
                  <a:gd name="connsiteY0" fmla="*/ 280035 h 373380"/>
                  <a:gd name="connsiteX1" fmla="*/ 186690 w 186690"/>
                  <a:gd name="connsiteY1" fmla="*/ 373380 h 373380"/>
                  <a:gd name="connsiteX2" fmla="*/ 186690 w 186690"/>
                  <a:gd name="connsiteY2" fmla="*/ 0 h 373380"/>
                  <a:gd name="connsiteX3" fmla="*/ 139065 w 186690"/>
                  <a:gd name="connsiteY3" fmla="*/ 5715 h 373380"/>
                  <a:gd name="connsiteX4" fmla="*/ 139065 w 186690"/>
                  <a:gd name="connsiteY4" fmla="*/ 272415 h 373380"/>
                  <a:gd name="connsiteX5" fmla="*/ 7620 w 186690"/>
                  <a:gd name="connsiteY5" fmla="*/ 219075 h 373380"/>
                  <a:gd name="connsiteX6" fmla="*/ 7620 w 186690"/>
                  <a:gd name="connsiteY6" fmla="*/ 289560 h 373380"/>
                  <a:gd name="connsiteX0" fmla="*/ 0 w 186690"/>
                  <a:gd name="connsiteY0" fmla="*/ 280035 h 373380"/>
                  <a:gd name="connsiteX1" fmla="*/ 186690 w 186690"/>
                  <a:gd name="connsiteY1" fmla="*/ 373380 h 373380"/>
                  <a:gd name="connsiteX2" fmla="*/ 186690 w 186690"/>
                  <a:gd name="connsiteY2" fmla="*/ 0 h 373380"/>
                  <a:gd name="connsiteX3" fmla="*/ 139065 w 186690"/>
                  <a:gd name="connsiteY3" fmla="*/ 5715 h 373380"/>
                  <a:gd name="connsiteX4" fmla="*/ 139065 w 186690"/>
                  <a:gd name="connsiteY4" fmla="*/ 272415 h 373380"/>
                  <a:gd name="connsiteX5" fmla="*/ 7620 w 186690"/>
                  <a:gd name="connsiteY5" fmla="*/ 219075 h 37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690" h="373380">
                    <a:moveTo>
                      <a:pt x="0" y="280035"/>
                    </a:moveTo>
                    <a:lnTo>
                      <a:pt x="186690" y="373380"/>
                    </a:lnTo>
                    <a:lnTo>
                      <a:pt x="186690" y="0"/>
                    </a:lnTo>
                    <a:lnTo>
                      <a:pt x="139065" y="5715"/>
                    </a:lnTo>
                    <a:lnTo>
                      <a:pt x="139065" y="272415"/>
                    </a:lnTo>
                    <a:lnTo>
                      <a:pt x="7620" y="219075"/>
                    </a:lnTo>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82" name="Freeform: Shape 181">
                <a:extLst>
                  <a:ext uri="{FF2B5EF4-FFF2-40B4-BE49-F238E27FC236}">
                    <a16:creationId xmlns:a16="http://schemas.microsoft.com/office/drawing/2014/main" id="{E4AB6B23-BD55-41E1-B4EE-2CBD6FC3FCBC}"/>
                  </a:ext>
                </a:extLst>
              </p:cNvPr>
              <p:cNvSpPr/>
              <p:nvPr/>
            </p:nvSpPr>
            <p:spPr bwMode="auto">
              <a:xfrm flipH="1">
                <a:off x="4753549" y="3068072"/>
                <a:ext cx="186686" cy="373381"/>
              </a:xfrm>
              <a:custGeom>
                <a:avLst/>
                <a:gdLst>
                  <a:gd name="connsiteX0" fmla="*/ 0 w 356235"/>
                  <a:gd name="connsiteY0" fmla="*/ 0 h 398145"/>
                  <a:gd name="connsiteX1" fmla="*/ 0 w 356235"/>
                  <a:gd name="connsiteY1" fmla="*/ 388620 h 398145"/>
                  <a:gd name="connsiteX2" fmla="*/ 40005 w 356235"/>
                  <a:gd name="connsiteY2" fmla="*/ 390525 h 398145"/>
                  <a:gd name="connsiteX3" fmla="*/ 169545 w 356235"/>
                  <a:gd name="connsiteY3" fmla="*/ 304800 h 398145"/>
                  <a:gd name="connsiteX4" fmla="*/ 356235 w 356235"/>
                  <a:gd name="connsiteY4" fmla="*/ 398145 h 398145"/>
                  <a:gd name="connsiteX5" fmla="*/ 356235 w 356235"/>
                  <a:gd name="connsiteY5" fmla="*/ 24765 h 398145"/>
                  <a:gd name="connsiteX6" fmla="*/ 308610 w 356235"/>
                  <a:gd name="connsiteY6" fmla="*/ 30480 h 398145"/>
                  <a:gd name="connsiteX7" fmla="*/ 308610 w 356235"/>
                  <a:gd name="connsiteY7" fmla="*/ 297180 h 398145"/>
                  <a:gd name="connsiteX8" fmla="*/ 177165 w 356235"/>
                  <a:gd name="connsiteY8" fmla="*/ 243840 h 398145"/>
                  <a:gd name="connsiteX9" fmla="*/ 177165 w 356235"/>
                  <a:gd name="connsiteY9" fmla="*/ 314325 h 398145"/>
                  <a:gd name="connsiteX0" fmla="*/ 0 w 356235"/>
                  <a:gd name="connsiteY0" fmla="*/ 0 h 398145"/>
                  <a:gd name="connsiteX1" fmla="*/ 0 w 356235"/>
                  <a:gd name="connsiteY1" fmla="*/ 388620 h 398145"/>
                  <a:gd name="connsiteX2" fmla="*/ 169545 w 356235"/>
                  <a:gd name="connsiteY2" fmla="*/ 304800 h 398145"/>
                  <a:gd name="connsiteX3" fmla="*/ 356235 w 356235"/>
                  <a:gd name="connsiteY3" fmla="*/ 398145 h 398145"/>
                  <a:gd name="connsiteX4" fmla="*/ 356235 w 356235"/>
                  <a:gd name="connsiteY4" fmla="*/ 24765 h 398145"/>
                  <a:gd name="connsiteX5" fmla="*/ 308610 w 356235"/>
                  <a:gd name="connsiteY5" fmla="*/ 30480 h 398145"/>
                  <a:gd name="connsiteX6" fmla="*/ 308610 w 356235"/>
                  <a:gd name="connsiteY6" fmla="*/ 297180 h 398145"/>
                  <a:gd name="connsiteX7" fmla="*/ 177165 w 356235"/>
                  <a:gd name="connsiteY7" fmla="*/ 243840 h 398145"/>
                  <a:gd name="connsiteX8" fmla="*/ 177165 w 356235"/>
                  <a:gd name="connsiteY8" fmla="*/ 314325 h 398145"/>
                  <a:gd name="connsiteX0" fmla="*/ 0 w 356235"/>
                  <a:gd name="connsiteY0" fmla="*/ 0 h 398145"/>
                  <a:gd name="connsiteX1" fmla="*/ 169545 w 356235"/>
                  <a:gd name="connsiteY1" fmla="*/ 304800 h 398145"/>
                  <a:gd name="connsiteX2" fmla="*/ 356235 w 356235"/>
                  <a:gd name="connsiteY2" fmla="*/ 398145 h 398145"/>
                  <a:gd name="connsiteX3" fmla="*/ 356235 w 356235"/>
                  <a:gd name="connsiteY3" fmla="*/ 24765 h 398145"/>
                  <a:gd name="connsiteX4" fmla="*/ 308610 w 356235"/>
                  <a:gd name="connsiteY4" fmla="*/ 30480 h 398145"/>
                  <a:gd name="connsiteX5" fmla="*/ 308610 w 356235"/>
                  <a:gd name="connsiteY5" fmla="*/ 297180 h 398145"/>
                  <a:gd name="connsiteX6" fmla="*/ 177165 w 356235"/>
                  <a:gd name="connsiteY6" fmla="*/ 243840 h 398145"/>
                  <a:gd name="connsiteX7" fmla="*/ 177165 w 356235"/>
                  <a:gd name="connsiteY7" fmla="*/ 314325 h 398145"/>
                  <a:gd name="connsiteX0" fmla="*/ 0 w 186690"/>
                  <a:gd name="connsiteY0" fmla="*/ 280035 h 373380"/>
                  <a:gd name="connsiteX1" fmla="*/ 186690 w 186690"/>
                  <a:gd name="connsiteY1" fmla="*/ 373380 h 373380"/>
                  <a:gd name="connsiteX2" fmla="*/ 186690 w 186690"/>
                  <a:gd name="connsiteY2" fmla="*/ 0 h 373380"/>
                  <a:gd name="connsiteX3" fmla="*/ 139065 w 186690"/>
                  <a:gd name="connsiteY3" fmla="*/ 5715 h 373380"/>
                  <a:gd name="connsiteX4" fmla="*/ 139065 w 186690"/>
                  <a:gd name="connsiteY4" fmla="*/ 272415 h 373380"/>
                  <a:gd name="connsiteX5" fmla="*/ 7620 w 186690"/>
                  <a:gd name="connsiteY5" fmla="*/ 219075 h 373380"/>
                  <a:gd name="connsiteX6" fmla="*/ 7620 w 186690"/>
                  <a:gd name="connsiteY6" fmla="*/ 289560 h 373380"/>
                  <a:gd name="connsiteX0" fmla="*/ 0 w 186690"/>
                  <a:gd name="connsiteY0" fmla="*/ 280035 h 373380"/>
                  <a:gd name="connsiteX1" fmla="*/ 186690 w 186690"/>
                  <a:gd name="connsiteY1" fmla="*/ 373380 h 373380"/>
                  <a:gd name="connsiteX2" fmla="*/ 186690 w 186690"/>
                  <a:gd name="connsiteY2" fmla="*/ 0 h 373380"/>
                  <a:gd name="connsiteX3" fmla="*/ 139065 w 186690"/>
                  <a:gd name="connsiteY3" fmla="*/ 5715 h 373380"/>
                  <a:gd name="connsiteX4" fmla="*/ 139065 w 186690"/>
                  <a:gd name="connsiteY4" fmla="*/ 272415 h 373380"/>
                  <a:gd name="connsiteX5" fmla="*/ 7620 w 186690"/>
                  <a:gd name="connsiteY5" fmla="*/ 219075 h 37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690" h="373380">
                    <a:moveTo>
                      <a:pt x="0" y="280035"/>
                    </a:moveTo>
                    <a:lnTo>
                      <a:pt x="186690" y="373380"/>
                    </a:lnTo>
                    <a:lnTo>
                      <a:pt x="186690" y="0"/>
                    </a:lnTo>
                    <a:lnTo>
                      <a:pt x="139065" y="5715"/>
                    </a:lnTo>
                    <a:lnTo>
                      <a:pt x="139065" y="272415"/>
                    </a:lnTo>
                    <a:lnTo>
                      <a:pt x="7620" y="219075"/>
                    </a:lnTo>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83" name="Freeform: Shape 182">
                <a:extLst>
                  <a:ext uri="{FF2B5EF4-FFF2-40B4-BE49-F238E27FC236}">
                    <a16:creationId xmlns:a16="http://schemas.microsoft.com/office/drawing/2014/main" id="{A1AC4E75-B96C-4229-B9BB-DE5E4CBBFBCC}"/>
                  </a:ext>
                </a:extLst>
              </p:cNvPr>
              <p:cNvSpPr>
                <a:spLocks/>
              </p:cNvSpPr>
              <p:nvPr/>
            </p:nvSpPr>
            <p:spPr bwMode="auto">
              <a:xfrm>
                <a:off x="1404426" y="829385"/>
                <a:ext cx="2320881" cy="2783544"/>
              </a:xfrm>
              <a:custGeom>
                <a:avLst/>
                <a:gdLst>
                  <a:gd name="connsiteX0" fmla="*/ 345826 w 2320878"/>
                  <a:gd name="connsiteY0" fmla="*/ 0 h 2783543"/>
                  <a:gd name="connsiteX1" fmla="*/ 2226096 w 2320878"/>
                  <a:gd name="connsiteY1" fmla="*/ 0 h 2783543"/>
                  <a:gd name="connsiteX2" fmla="*/ 2320878 w 2320878"/>
                  <a:gd name="connsiteY2" fmla="*/ 93726 h 2783543"/>
                  <a:gd name="connsiteX3" fmla="*/ 2320878 w 2320878"/>
                  <a:gd name="connsiteY3" fmla="*/ 1896421 h 2783543"/>
                  <a:gd name="connsiteX4" fmla="*/ 2320878 w 2320878"/>
                  <a:gd name="connsiteY4" fmla="*/ 1985779 h 2783543"/>
                  <a:gd name="connsiteX5" fmla="*/ 2132980 w 2320878"/>
                  <a:gd name="connsiteY5" fmla="*/ 1985779 h 2783543"/>
                  <a:gd name="connsiteX6" fmla="*/ 2132980 w 2320878"/>
                  <a:gd name="connsiteY6" fmla="*/ 1933088 h 2783543"/>
                  <a:gd name="connsiteX7" fmla="*/ 2132980 w 2320878"/>
                  <a:gd name="connsiteY7" fmla="*/ 187899 h 2783543"/>
                  <a:gd name="connsiteX8" fmla="*/ 346372 w 2320878"/>
                  <a:gd name="connsiteY8" fmla="*/ 187899 h 2783543"/>
                  <a:gd name="connsiteX9" fmla="*/ 188843 w 2320878"/>
                  <a:gd name="connsiteY9" fmla="*/ 345767 h 2783543"/>
                  <a:gd name="connsiteX10" fmla="*/ 188843 w 2320878"/>
                  <a:gd name="connsiteY10" fmla="*/ 2131092 h 2783543"/>
                  <a:gd name="connsiteX11" fmla="*/ 346372 w 2320878"/>
                  <a:gd name="connsiteY11" fmla="*/ 2092587 h 2783543"/>
                  <a:gd name="connsiteX12" fmla="*/ 1621505 w 2320878"/>
                  <a:gd name="connsiteY12" fmla="*/ 2092587 h 2783543"/>
                  <a:gd name="connsiteX13" fmla="*/ 1621505 w 2320878"/>
                  <a:gd name="connsiteY13" fmla="*/ 2281530 h 2783543"/>
                  <a:gd name="connsiteX14" fmla="*/ 1587527 w 2320878"/>
                  <a:gd name="connsiteY14" fmla="*/ 2281530 h 2783543"/>
                  <a:gd name="connsiteX15" fmla="*/ 345826 w 2320878"/>
                  <a:gd name="connsiteY15" fmla="*/ 2281530 h 2783543"/>
                  <a:gd name="connsiteX16" fmla="*/ 188283 w 2320878"/>
                  <a:gd name="connsiteY16" fmla="*/ 2438168 h 2783543"/>
                  <a:gd name="connsiteX17" fmla="*/ 345826 w 2320878"/>
                  <a:gd name="connsiteY17" fmla="*/ 2596091 h 2783543"/>
                  <a:gd name="connsiteX18" fmla="*/ 1532196 w 2320878"/>
                  <a:gd name="connsiteY18" fmla="*/ 2596091 h 2783543"/>
                  <a:gd name="connsiteX19" fmla="*/ 1621505 w 2320878"/>
                  <a:gd name="connsiteY19" fmla="*/ 2596091 h 2783543"/>
                  <a:gd name="connsiteX20" fmla="*/ 1621505 w 2320878"/>
                  <a:gd name="connsiteY20" fmla="*/ 2783543 h 2783543"/>
                  <a:gd name="connsiteX21" fmla="*/ 1587527 w 2320878"/>
                  <a:gd name="connsiteY21" fmla="*/ 2783543 h 2783543"/>
                  <a:gd name="connsiteX22" fmla="*/ 345826 w 2320878"/>
                  <a:gd name="connsiteY22" fmla="*/ 2783543 h 2783543"/>
                  <a:gd name="connsiteX23" fmla="*/ 0 w 2320878"/>
                  <a:gd name="connsiteY23" fmla="*/ 2438168 h 2783543"/>
                  <a:gd name="connsiteX24" fmla="*/ 0 w 2320878"/>
                  <a:gd name="connsiteY24" fmla="*/ 345375 h 2783543"/>
                  <a:gd name="connsiteX25" fmla="*/ 345826 w 2320878"/>
                  <a:gd name="connsiteY25" fmla="*/ 0 h 278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0878" h="2783543">
                    <a:moveTo>
                      <a:pt x="345826" y="0"/>
                    </a:moveTo>
                    <a:cubicBezTo>
                      <a:pt x="345826" y="0"/>
                      <a:pt x="345826" y="0"/>
                      <a:pt x="2226096" y="0"/>
                    </a:cubicBezTo>
                    <a:cubicBezTo>
                      <a:pt x="2278611" y="0"/>
                      <a:pt x="2320878" y="41086"/>
                      <a:pt x="2320878" y="93726"/>
                    </a:cubicBezTo>
                    <a:cubicBezTo>
                      <a:pt x="2320878" y="93726"/>
                      <a:pt x="2320878" y="93726"/>
                      <a:pt x="2320878" y="1896421"/>
                    </a:cubicBezTo>
                    <a:lnTo>
                      <a:pt x="2320878" y="1985779"/>
                    </a:lnTo>
                    <a:lnTo>
                      <a:pt x="2132980" y="1985779"/>
                    </a:lnTo>
                    <a:lnTo>
                      <a:pt x="2132980" y="1933088"/>
                    </a:lnTo>
                    <a:cubicBezTo>
                      <a:pt x="2132980" y="1728018"/>
                      <a:pt x="2132980" y="1259286"/>
                      <a:pt x="2132980" y="187899"/>
                    </a:cubicBezTo>
                    <a:cubicBezTo>
                      <a:pt x="2132980" y="187899"/>
                      <a:pt x="2132980" y="187899"/>
                      <a:pt x="346372" y="187899"/>
                    </a:cubicBezTo>
                    <a:cubicBezTo>
                      <a:pt x="259283" y="187899"/>
                      <a:pt x="188843" y="258490"/>
                      <a:pt x="188843" y="345767"/>
                    </a:cubicBezTo>
                    <a:cubicBezTo>
                      <a:pt x="188843" y="345767"/>
                      <a:pt x="188843" y="345767"/>
                      <a:pt x="188843" y="2131092"/>
                    </a:cubicBezTo>
                    <a:cubicBezTo>
                      <a:pt x="237510" y="2105422"/>
                      <a:pt x="291301" y="2092587"/>
                      <a:pt x="346372" y="2092587"/>
                    </a:cubicBezTo>
                    <a:lnTo>
                      <a:pt x="1621505" y="2092587"/>
                    </a:lnTo>
                    <a:lnTo>
                      <a:pt x="1621505" y="2281530"/>
                    </a:lnTo>
                    <a:lnTo>
                      <a:pt x="1587527" y="2281530"/>
                    </a:lnTo>
                    <a:cubicBezTo>
                      <a:pt x="1300563" y="2281530"/>
                      <a:pt x="901310" y="2281530"/>
                      <a:pt x="345826" y="2281530"/>
                    </a:cubicBezTo>
                    <a:cubicBezTo>
                      <a:pt x="258730" y="2281530"/>
                      <a:pt x="188283" y="2352145"/>
                      <a:pt x="188283" y="2438168"/>
                    </a:cubicBezTo>
                    <a:cubicBezTo>
                      <a:pt x="188283" y="2525475"/>
                      <a:pt x="258730" y="2596091"/>
                      <a:pt x="345826" y="2596091"/>
                    </a:cubicBezTo>
                    <a:cubicBezTo>
                      <a:pt x="345826" y="2596091"/>
                      <a:pt x="345826" y="2596091"/>
                      <a:pt x="1532196" y="2596091"/>
                    </a:cubicBezTo>
                    <a:lnTo>
                      <a:pt x="1621505" y="2596091"/>
                    </a:lnTo>
                    <a:lnTo>
                      <a:pt x="1621505" y="2783543"/>
                    </a:lnTo>
                    <a:lnTo>
                      <a:pt x="1587527" y="2783543"/>
                    </a:lnTo>
                    <a:cubicBezTo>
                      <a:pt x="1300563" y="2783543"/>
                      <a:pt x="901310" y="2783543"/>
                      <a:pt x="345826" y="2783543"/>
                    </a:cubicBezTo>
                    <a:cubicBezTo>
                      <a:pt x="154981" y="2783543"/>
                      <a:pt x="0" y="2629472"/>
                      <a:pt x="0" y="2438168"/>
                    </a:cubicBezTo>
                    <a:cubicBezTo>
                      <a:pt x="0" y="2438168"/>
                      <a:pt x="0" y="2438168"/>
                      <a:pt x="0" y="345375"/>
                    </a:cubicBezTo>
                    <a:cubicBezTo>
                      <a:pt x="0" y="154071"/>
                      <a:pt x="154981" y="0"/>
                      <a:pt x="345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163" name="Freeform: Shape 162">
              <a:extLst>
                <a:ext uri="{FF2B5EF4-FFF2-40B4-BE49-F238E27FC236}">
                  <a16:creationId xmlns:a16="http://schemas.microsoft.com/office/drawing/2014/main" id="{386F6EC3-22D6-4AC4-81EB-6E150DA35ED4}"/>
                </a:ext>
              </a:extLst>
            </p:cNvPr>
            <p:cNvSpPr/>
            <p:nvPr/>
          </p:nvSpPr>
          <p:spPr bwMode="auto">
            <a:xfrm>
              <a:off x="6075288" y="1378760"/>
              <a:ext cx="1732635" cy="1808145"/>
            </a:xfrm>
            <a:custGeom>
              <a:avLst/>
              <a:gdLst>
                <a:gd name="connsiteX0" fmla="*/ 828560 w 1732635"/>
                <a:gd name="connsiteY0" fmla="*/ 0 h 1808150"/>
                <a:gd name="connsiteX1" fmla="*/ 1732635 w 1732635"/>
                <a:gd name="connsiteY1" fmla="*/ 904075 h 1808150"/>
                <a:gd name="connsiteX2" fmla="*/ 828560 w 1732635"/>
                <a:gd name="connsiteY2" fmla="*/ 1808150 h 1808150"/>
                <a:gd name="connsiteX3" fmla="*/ 78887 w 1732635"/>
                <a:gd name="connsiteY3" fmla="*/ 1409552 h 1808150"/>
                <a:gd name="connsiteX4" fmla="*/ 0 w 1732635"/>
                <a:gd name="connsiteY4" fmla="*/ 1264213 h 1808150"/>
                <a:gd name="connsiteX5" fmla="*/ 42615 w 1732635"/>
                <a:gd name="connsiteY5" fmla="*/ 1265808 h 1808150"/>
                <a:gd name="connsiteX6" fmla="*/ 53209 w 1732635"/>
                <a:gd name="connsiteY6" fmla="*/ 1264289 h 1808150"/>
                <a:gd name="connsiteX7" fmla="*/ 117810 w 1732635"/>
                <a:gd name="connsiteY7" fmla="*/ 1383308 h 1808150"/>
                <a:gd name="connsiteX8" fmla="*/ 828560 w 1732635"/>
                <a:gd name="connsiteY8" fmla="*/ 1761210 h 1808150"/>
                <a:gd name="connsiteX9" fmla="*/ 1685695 w 1732635"/>
                <a:gd name="connsiteY9" fmla="*/ 904075 h 1808150"/>
                <a:gd name="connsiteX10" fmla="*/ 828560 w 1732635"/>
                <a:gd name="connsiteY10" fmla="*/ 46940 h 1808150"/>
                <a:gd name="connsiteX11" fmla="*/ 494924 w 1732635"/>
                <a:gd name="connsiteY11" fmla="*/ 114298 h 1808150"/>
                <a:gd name="connsiteX12" fmla="*/ 443212 w 1732635"/>
                <a:gd name="connsiteY12" fmla="*/ 142367 h 1808150"/>
                <a:gd name="connsiteX13" fmla="*/ 361021 w 1732635"/>
                <a:gd name="connsiteY13" fmla="*/ 131354 h 1808150"/>
                <a:gd name="connsiteX14" fmla="*/ 397624 w 1732635"/>
                <a:gd name="connsiteY14" fmla="*/ 109117 h 1808150"/>
                <a:gd name="connsiteX15" fmla="*/ 828560 w 1732635"/>
                <a:gd name="connsiteY15" fmla="*/ 0 h 180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2635" h="1808150">
                  <a:moveTo>
                    <a:pt x="828560" y="0"/>
                  </a:moveTo>
                  <a:cubicBezTo>
                    <a:pt x="1327867" y="0"/>
                    <a:pt x="1732635" y="404768"/>
                    <a:pt x="1732635" y="904075"/>
                  </a:cubicBezTo>
                  <a:cubicBezTo>
                    <a:pt x="1732635" y="1403382"/>
                    <a:pt x="1327867" y="1808150"/>
                    <a:pt x="828560" y="1808150"/>
                  </a:cubicBezTo>
                  <a:cubicBezTo>
                    <a:pt x="516493" y="1808150"/>
                    <a:pt x="241356" y="1650038"/>
                    <a:pt x="78887" y="1409552"/>
                  </a:cubicBezTo>
                  <a:lnTo>
                    <a:pt x="0" y="1264213"/>
                  </a:lnTo>
                  <a:lnTo>
                    <a:pt x="42615" y="1265808"/>
                  </a:lnTo>
                  <a:lnTo>
                    <a:pt x="53209" y="1264289"/>
                  </a:lnTo>
                  <a:lnTo>
                    <a:pt x="117810" y="1383308"/>
                  </a:lnTo>
                  <a:cubicBezTo>
                    <a:pt x="271844" y="1611307"/>
                    <a:pt x="532696" y="1761210"/>
                    <a:pt x="828560" y="1761210"/>
                  </a:cubicBezTo>
                  <a:cubicBezTo>
                    <a:pt x="1301943" y="1761210"/>
                    <a:pt x="1685695" y="1377458"/>
                    <a:pt x="1685695" y="904075"/>
                  </a:cubicBezTo>
                  <a:cubicBezTo>
                    <a:pt x="1685695" y="430692"/>
                    <a:pt x="1301943" y="46940"/>
                    <a:pt x="828560" y="46940"/>
                  </a:cubicBezTo>
                  <a:cubicBezTo>
                    <a:pt x="710214" y="46940"/>
                    <a:pt x="597471" y="70925"/>
                    <a:pt x="494924" y="114298"/>
                  </a:cubicBezTo>
                  <a:lnTo>
                    <a:pt x="443212" y="142367"/>
                  </a:lnTo>
                  <a:lnTo>
                    <a:pt x="361021" y="131354"/>
                  </a:lnTo>
                  <a:lnTo>
                    <a:pt x="397624" y="109117"/>
                  </a:lnTo>
                  <a:cubicBezTo>
                    <a:pt x="525726" y="39528"/>
                    <a:pt x="672527" y="0"/>
                    <a:pt x="82856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1A1A1A"/>
                </a:solidFill>
                <a:effectLst/>
                <a:uLnTx/>
                <a:uFillTx/>
                <a:latin typeface="Segoe UI"/>
                <a:ea typeface="Segoe UI" pitchFamily="34" charset="0"/>
                <a:cs typeface="Segoe UI" pitchFamily="34" charset="0"/>
              </a:endParaRPr>
            </a:p>
          </p:txBody>
        </p:sp>
        <p:sp>
          <p:nvSpPr>
            <p:cNvPr id="164" name="TextBox 163">
              <a:extLst>
                <a:ext uri="{FF2B5EF4-FFF2-40B4-BE49-F238E27FC236}">
                  <a16:creationId xmlns:a16="http://schemas.microsoft.com/office/drawing/2014/main" id="{7C9E3056-A69B-4DD5-A558-57A5B63DCF05}"/>
                </a:ext>
              </a:extLst>
            </p:cNvPr>
            <p:cNvSpPr txBox="1"/>
            <p:nvPr/>
          </p:nvSpPr>
          <p:spPr>
            <a:xfrm>
              <a:off x="6420726" y="2762138"/>
              <a:ext cx="307936" cy="124689"/>
            </a:xfrm>
            <a:custGeom>
              <a:avLst/>
              <a:gdLst>
                <a:gd name="connsiteX0" fmla="*/ 233576 w 307934"/>
                <a:gd name="connsiteY0" fmla="*/ 32361 h 124690"/>
                <a:gd name="connsiteX1" fmla="*/ 225730 w 307934"/>
                <a:gd name="connsiteY1" fmla="*/ 33858 h 124690"/>
                <a:gd name="connsiteX2" fmla="*/ 219382 w 307934"/>
                <a:gd name="connsiteY2" fmla="*/ 38188 h 124690"/>
                <a:gd name="connsiteX3" fmla="*/ 214856 w 307934"/>
                <a:gd name="connsiteY3" fmla="*/ 45090 h 124690"/>
                <a:gd name="connsiteX4" fmla="*/ 212349 w 307934"/>
                <a:gd name="connsiteY4" fmla="*/ 54239 h 124690"/>
                <a:gd name="connsiteX5" fmla="*/ 251742 w 307934"/>
                <a:gd name="connsiteY5" fmla="*/ 54239 h 124690"/>
                <a:gd name="connsiteX6" fmla="*/ 246794 w 307934"/>
                <a:gd name="connsiteY6" fmla="*/ 38091 h 124690"/>
                <a:gd name="connsiteX7" fmla="*/ 233576 w 307934"/>
                <a:gd name="connsiteY7" fmla="*/ 32361 h 124690"/>
                <a:gd name="connsiteX8" fmla="*/ 158613 w 307934"/>
                <a:gd name="connsiteY8" fmla="*/ 32361 h 124690"/>
                <a:gd name="connsiteX9" fmla="*/ 149204 w 307934"/>
                <a:gd name="connsiteY9" fmla="*/ 34379 h 124690"/>
                <a:gd name="connsiteX10" fmla="*/ 142042 w 307934"/>
                <a:gd name="connsiteY10" fmla="*/ 40109 h 124690"/>
                <a:gd name="connsiteX11" fmla="*/ 137484 w 307934"/>
                <a:gd name="connsiteY11" fmla="*/ 49127 h 124690"/>
                <a:gd name="connsiteX12" fmla="*/ 135889 w 307934"/>
                <a:gd name="connsiteY12" fmla="*/ 61075 h 124690"/>
                <a:gd name="connsiteX13" fmla="*/ 137387 w 307934"/>
                <a:gd name="connsiteY13" fmla="*/ 72145 h 124690"/>
                <a:gd name="connsiteX14" fmla="*/ 141619 w 307934"/>
                <a:gd name="connsiteY14" fmla="*/ 80544 h 124690"/>
                <a:gd name="connsiteX15" fmla="*/ 148228 w 307934"/>
                <a:gd name="connsiteY15" fmla="*/ 85883 h 124690"/>
                <a:gd name="connsiteX16" fmla="*/ 156855 w 307934"/>
                <a:gd name="connsiteY16" fmla="*/ 87771 h 124690"/>
                <a:gd name="connsiteX17" fmla="*/ 165841 w 307934"/>
                <a:gd name="connsiteY17" fmla="*/ 85981 h 124690"/>
                <a:gd name="connsiteX18" fmla="*/ 172743 w 307934"/>
                <a:gd name="connsiteY18" fmla="*/ 81032 h 124690"/>
                <a:gd name="connsiteX19" fmla="*/ 177170 w 307934"/>
                <a:gd name="connsiteY19" fmla="*/ 73610 h 124690"/>
                <a:gd name="connsiteX20" fmla="*/ 178733 w 307934"/>
                <a:gd name="connsiteY20" fmla="*/ 64396 h 124690"/>
                <a:gd name="connsiteX21" fmla="*/ 178733 w 307934"/>
                <a:gd name="connsiteY21" fmla="*/ 52871 h 124690"/>
                <a:gd name="connsiteX22" fmla="*/ 177235 w 307934"/>
                <a:gd name="connsiteY22" fmla="*/ 44993 h 124690"/>
                <a:gd name="connsiteX23" fmla="*/ 173068 w 307934"/>
                <a:gd name="connsiteY23" fmla="*/ 38481 h 124690"/>
                <a:gd name="connsiteX24" fmla="*/ 166720 w 307934"/>
                <a:gd name="connsiteY24" fmla="*/ 34021 h 124690"/>
                <a:gd name="connsiteX25" fmla="*/ 158613 w 307934"/>
                <a:gd name="connsiteY25" fmla="*/ 32361 h 124690"/>
                <a:gd name="connsiteX26" fmla="*/ 90701 w 307934"/>
                <a:gd name="connsiteY26" fmla="*/ 32361 h 124690"/>
                <a:gd name="connsiteX27" fmla="*/ 82855 w 307934"/>
                <a:gd name="connsiteY27" fmla="*/ 33858 h 124690"/>
                <a:gd name="connsiteX28" fmla="*/ 76507 w 307934"/>
                <a:gd name="connsiteY28" fmla="*/ 38188 h 124690"/>
                <a:gd name="connsiteX29" fmla="*/ 71981 w 307934"/>
                <a:gd name="connsiteY29" fmla="*/ 45090 h 124690"/>
                <a:gd name="connsiteX30" fmla="*/ 69474 w 307934"/>
                <a:gd name="connsiteY30" fmla="*/ 54239 h 124690"/>
                <a:gd name="connsiteX31" fmla="*/ 108867 w 307934"/>
                <a:gd name="connsiteY31" fmla="*/ 54239 h 124690"/>
                <a:gd name="connsiteX32" fmla="*/ 103919 w 307934"/>
                <a:gd name="connsiteY32" fmla="*/ 38091 h 124690"/>
                <a:gd name="connsiteX33" fmla="*/ 90701 w 307934"/>
                <a:gd name="connsiteY33" fmla="*/ 32361 h 124690"/>
                <a:gd name="connsiteX34" fmla="*/ 301423 w 307934"/>
                <a:gd name="connsiteY34" fmla="*/ 25459 h 124690"/>
                <a:gd name="connsiteX35" fmla="*/ 305037 w 307934"/>
                <a:gd name="connsiteY35" fmla="*/ 25719 h 124690"/>
                <a:gd name="connsiteX36" fmla="*/ 307934 w 307934"/>
                <a:gd name="connsiteY36" fmla="*/ 26501 h 124690"/>
                <a:gd name="connsiteX37" fmla="*/ 307934 w 307934"/>
                <a:gd name="connsiteY37" fmla="*/ 35226 h 124690"/>
                <a:gd name="connsiteX38" fmla="*/ 300381 w 307934"/>
                <a:gd name="connsiteY38" fmla="*/ 33077 h 124690"/>
                <a:gd name="connsiteX39" fmla="*/ 294521 w 307934"/>
                <a:gd name="connsiteY39" fmla="*/ 34347 h 124690"/>
                <a:gd name="connsiteX40" fmla="*/ 290061 w 307934"/>
                <a:gd name="connsiteY40" fmla="*/ 37765 h 124690"/>
                <a:gd name="connsiteX41" fmla="*/ 286805 w 307934"/>
                <a:gd name="connsiteY41" fmla="*/ 42746 h 124690"/>
                <a:gd name="connsiteX42" fmla="*/ 284657 w 307934"/>
                <a:gd name="connsiteY42" fmla="*/ 48639 h 124690"/>
                <a:gd name="connsiteX43" fmla="*/ 283485 w 307934"/>
                <a:gd name="connsiteY43" fmla="*/ 54825 h 124690"/>
                <a:gd name="connsiteX44" fmla="*/ 283127 w 307934"/>
                <a:gd name="connsiteY44" fmla="*/ 60750 h 124690"/>
                <a:gd name="connsiteX45" fmla="*/ 283127 w 307934"/>
                <a:gd name="connsiteY45" fmla="*/ 93371 h 124690"/>
                <a:gd name="connsiteX46" fmla="*/ 274857 w 307934"/>
                <a:gd name="connsiteY46" fmla="*/ 93371 h 124690"/>
                <a:gd name="connsiteX47" fmla="*/ 274857 w 307934"/>
                <a:gd name="connsiteY47" fmla="*/ 26696 h 124690"/>
                <a:gd name="connsiteX48" fmla="*/ 283127 w 307934"/>
                <a:gd name="connsiteY48" fmla="*/ 26696 h 124690"/>
                <a:gd name="connsiteX49" fmla="*/ 283127 w 307934"/>
                <a:gd name="connsiteY49" fmla="*/ 40956 h 124690"/>
                <a:gd name="connsiteX50" fmla="*/ 283387 w 307934"/>
                <a:gd name="connsiteY50" fmla="*/ 40956 h 124690"/>
                <a:gd name="connsiteX51" fmla="*/ 286350 w 307934"/>
                <a:gd name="connsiteY51" fmla="*/ 34412 h 124690"/>
                <a:gd name="connsiteX52" fmla="*/ 290484 w 307934"/>
                <a:gd name="connsiteY52" fmla="*/ 29529 h 124690"/>
                <a:gd name="connsiteX53" fmla="*/ 295596 w 307934"/>
                <a:gd name="connsiteY53" fmla="*/ 26501 h 124690"/>
                <a:gd name="connsiteX54" fmla="*/ 301423 w 307934"/>
                <a:gd name="connsiteY54" fmla="*/ 25459 h 124690"/>
                <a:gd name="connsiteX55" fmla="*/ 233771 w 307934"/>
                <a:gd name="connsiteY55" fmla="*/ 25133 h 124690"/>
                <a:gd name="connsiteX56" fmla="*/ 245166 w 307934"/>
                <a:gd name="connsiteY56" fmla="*/ 27380 h 124690"/>
                <a:gd name="connsiteX57" fmla="*/ 253468 w 307934"/>
                <a:gd name="connsiteY57" fmla="*/ 33793 h 124690"/>
                <a:gd name="connsiteX58" fmla="*/ 258579 w 307934"/>
                <a:gd name="connsiteY58" fmla="*/ 43951 h 124690"/>
                <a:gd name="connsiteX59" fmla="*/ 260337 w 307934"/>
                <a:gd name="connsiteY59" fmla="*/ 57364 h 124690"/>
                <a:gd name="connsiteX60" fmla="*/ 260337 w 307934"/>
                <a:gd name="connsiteY60" fmla="*/ 61531 h 124690"/>
                <a:gd name="connsiteX61" fmla="*/ 212154 w 307934"/>
                <a:gd name="connsiteY61" fmla="*/ 61531 h 124690"/>
                <a:gd name="connsiteX62" fmla="*/ 213782 w 307934"/>
                <a:gd name="connsiteY62" fmla="*/ 72535 h 124690"/>
                <a:gd name="connsiteX63" fmla="*/ 218275 w 307934"/>
                <a:gd name="connsiteY63" fmla="*/ 80804 h 124690"/>
                <a:gd name="connsiteX64" fmla="*/ 225404 w 307934"/>
                <a:gd name="connsiteY64" fmla="*/ 85981 h 124690"/>
                <a:gd name="connsiteX65" fmla="*/ 234878 w 307934"/>
                <a:gd name="connsiteY65" fmla="*/ 87771 h 124690"/>
                <a:gd name="connsiteX66" fmla="*/ 256170 w 307934"/>
                <a:gd name="connsiteY66" fmla="*/ 79893 h 124690"/>
                <a:gd name="connsiteX67" fmla="*/ 256170 w 307934"/>
                <a:gd name="connsiteY67" fmla="*/ 88097 h 124690"/>
                <a:gd name="connsiteX68" fmla="*/ 232990 w 307934"/>
                <a:gd name="connsiteY68" fmla="*/ 94934 h 124690"/>
                <a:gd name="connsiteX69" fmla="*/ 220814 w 307934"/>
                <a:gd name="connsiteY69" fmla="*/ 92590 h 124690"/>
                <a:gd name="connsiteX70" fmla="*/ 211503 w 307934"/>
                <a:gd name="connsiteY70" fmla="*/ 85786 h 124690"/>
                <a:gd name="connsiteX71" fmla="*/ 205578 w 307934"/>
                <a:gd name="connsiteY71" fmla="*/ 74814 h 124690"/>
                <a:gd name="connsiteX72" fmla="*/ 203494 w 307934"/>
                <a:gd name="connsiteY72" fmla="*/ 59969 h 124690"/>
                <a:gd name="connsiteX73" fmla="*/ 205773 w 307934"/>
                <a:gd name="connsiteY73" fmla="*/ 46100 h 124690"/>
                <a:gd name="connsiteX74" fmla="*/ 212089 w 307934"/>
                <a:gd name="connsiteY74" fmla="*/ 35063 h 124690"/>
                <a:gd name="connsiteX75" fmla="*/ 221661 w 307934"/>
                <a:gd name="connsiteY75" fmla="*/ 27770 h 124690"/>
                <a:gd name="connsiteX76" fmla="*/ 233771 w 307934"/>
                <a:gd name="connsiteY76" fmla="*/ 25133 h 124690"/>
                <a:gd name="connsiteX77" fmla="*/ 157832 w 307934"/>
                <a:gd name="connsiteY77" fmla="*/ 25133 h 124690"/>
                <a:gd name="connsiteX78" fmla="*/ 178472 w 307934"/>
                <a:gd name="connsiteY78" fmla="*/ 36593 h 124690"/>
                <a:gd name="connsiteX79" fmla="*/ 178733 w 307934"/>
                <a:gd name="connsiteY79" fmla="*/ 36593 h 124690"/>
                <a:gd name="connsiteX80" fmla="*/ 178733 w 307934"/>
                <a:gd name="connsiteY80" fmla="*/ 26696 h 124690"/>
                <a:gd name="connsiteX81" fmla="*/ 187067 w 307934"/>
                <a:gd name="connsiteY81" fmla="*/ 26696 h 124690"/>
                <a:gd name="connsiteX82" fmla="*/ 187067 w 307934"/>
                <a:gd name="connsiteY82" fmla="*/ 88227 h 124690"/>
                <a:gd name="connsiteX83" fmla="*/ 178635 w 307934"/>
                <a:gd name="connsiteY83" fmla="*/ 115737 h 124690"/>
                <a:gd name="connsiteX84" fmla="*/ 152623 w 307934"/>
                <a:gd name="connsiteY84" fmla="*/ 124690 h 124690"/>
                <a:gd name="connsiteX85" fmla="*/ 131917 w 307934"/>
                <a:gd name="connsiteY85" fmla="*/ 119807 h 124690"/>
                <a:gd name="connsiteX86" fmla="*/ 131917 w 307934"/>
                <a:gd name="connsiteY86" fmla="*/ 111342 h 124690"/>
                <a:gd name="connsiteX87" fmla="*/ 152623 w 307934"/>
                <a:gd name="connsiteY87" fmla="*/ 117398 h 124690"/>
                <a:gd name="connsiteX88" fmla="*/ 178733 w 307934"/>
                <a:gd name="connsiteY88" fmla="*/ 89790 h 124690"/>
                <a:gd name="connsiteX89" fmla="*/ 178733 w 307934"/>
                <a:gd name="connsiteY89" fmla="*/ 81781 h 124690"/>
                <a:gd name="connsiteX90" fmla="*/ 178472 w 307934"/>
                <a:gd name="connsiteY90" fmla="*/ 81781 h 124690"/>
                <a:gd name="connsiteX91" fmla="*/ 155032 w 307934"/>
                <a:gd name="connsiteY91" fmla="*/ 94934 h 124690"/>
                <a:gd name="connsiteX92" fmla="*/ 143735 w 307934"/>
                <a:gd name="connsiteY92" fmla="*/ 92655 h 124690"/>
                <a:gd name="connsiteX93" fmla="*/ 134977 w 307934"/>
                <a:gd name="connsiteY93" fmla="*/ 86079 h 124690"/>
                <a:gd name="connsiteX94" fmla="*/ 129313 w 307934"/>
                <a:gd name="connsiteY94" fmla="*/ 75628 h 124690"/>
                <a:gd name="connsiteX95" fmla="*/ 127294 w 307934"/>
                <a:gd name="connsiteY95" fmla="*/ 61727 h 124690"/>
                <a:gd name="connsiteX96" fmla="*/ 129443 w 307934"/>
                <a:gd name="connsiteY96" fmla="*/ 46783 h 124690"/>
                <a:gd name="connsiteX97" fmla="*/ 135563 w 307934"/>
                <a:gd name="connsiteY97" fmla="*/ 35226 h 124690"/>
                <a:gd name="connsiteX98" fmla="*/ 145168 w 307934"/>
                <a:gd name="connsiteY98" fmla="*/ 27770 h 124690"/>
                <a:gd name="connsiteX99" fmla="*/ 157832 w 307934"/>
                <a:gd name="connsiteY99" fmla="*/ 25133 h 124690"/>
                <a:gd name="connsiteX100" fmla="*/ 90896 w 307934"/>
                <a:gd name="connsiteY100" fmla="*/ 25133 h 124690"/>
                <a:gd name="connsiteX101" fmla="*/ 102291 w 307934"/>
                <a:gd name="connsiteY101" fmla="*/ 27380 h 124690"/>
                <a:gd name="connsiteX102" fmla="*/ 110593 w 307934"/>
                <a:gd name="connsiteY102" fmla="*/ 33793 h 124690"/>
                <a:gd name="connsiteX103" fmla="*/ 115704 w 307934"/>
                <a:gd name="connsiteY103" fmla="*/ 43951 h 124690"/>
                <a:gd name="connsiteX104" fmla="*/ 117462 w 307934"/>
                <a:gd name="connsiteY104" fmla="*/ 57364 h 124690"/>
                <a:gd name="connsiteX105" fmla="*/ 117462 w 307934"/>
                <a:gd name="connsiteY105" fmla="*/ 61531 h 124690"/>
                <a:gd name="connsiteX106" fmla="*/ 69279 w 307934"/>
                <a:gd name="connsiteY106" fmla="*/ 61531 h 124690"/>
                <a:gd name="connsiteX107" fmla="*/ 70907 w 307934"/>
                <a:gd name="connsiteY107" fmla="*/ 72535 h 124690"/>
                <a:gd name="connsiteX108" fmla="*/ 75400 w 307934"/>
                <a:gd name="connsiteY108" fmla="*/ 80804 h 124690"/>
                <a:gd name="connsiteX109" fmla="*/ 82529 w 307934"/>
                <a:gd name="connsiteY109" fmla="*/ 85981 h 124690"/>
                <a:gd name="connsiteX110" fmla="*/ 92003 w 307934"/>
                <a:gd name="connsiteY110" fmla="*/ 87771 h 124690"/>
                <a:gd name="connsiteX111" fmla="*/ 113295 w 307934"/>
                <a:gd name="connsiteY111" fmla="*/ 79893 h 124690"/>
                <a:gd name="connsiteX112" fmla="*/ 113295 w 307934"/>
                <a:gd name="connsiteY112" fmla="*/ 88097 h 124690"/>
                <a:gd name="connsiteX113" fmla="*/ 90115 w 307934"/>
                <a:gd name="connsiteY113" fmla="*/ 94934 h 124690"/>
                <a:gd name="connsiteX114" fmla="*/ 77939 w 307934"/>
                <a:gd name="connsiteY114" fmla="*/ 92590 h 124690"/>
                <a:gd name="connsiteX115" fmla="*/ 68628 w 307934"/>
                <a:gd name="connsiteY115" fmla="*/ 85786 h 124690"/>
                <a:gd name="connsiteX116" fmla="*/ 62703 w 307934"/>
                <a:gd name="connsiteY116" fmla="*/ 74814 h 124690"/>
                <a:gd name="connsiteX117" fmla="*/ 60619 w 307934"/>
                <a:gd name="connsiteY117" fmla="*/ 59969 h 124690"/>
                <a:gd name="connsiteX118" fmla="*/ 62898 w 307934"/>
                <a:gd name="connsiteY118" fmla="*/ 46100 h 124690"/>
                <a:gd name="connsiteX119" fmla="*/ 69214 w 307934"/>
                <a:gd name="connsiteY119" fmla="*/ 35063 h 124690"/>
                <a:gd name="connsiteX120" fmla="*/ 78786 w 307934"/>
                <a:gd name="connsiteY120" fmla="*/ 27770 h 124690"/>
                <a:gd name="connsiteX121" fmla="*/ 90896 w 307934"/>
                <a:gd name="connsiteY121" fmla="*/ 25133 h 124690"/>
                <a:gd name="connsiteX122" fmla="*/ 0 w 307934"/>
                <a:gd name="connsiteY122" fmla="*/ 0 h 124690"/>
                <a:gd name="connsiteX123" fmla="*/ 8660 w 307934"/>
                <a:gd name="connsiteY123" fmla="*/ 0 h 124690"/>
                <a:gd name="connsiteX124" fmla="*/ 8660 w 307934"/>
                <a:gd name="connsiteY124" fmla="*/ 85493 h 124690"/>
                <a:gd name="connsiteX125" fmla="*/ 46164 w 307934"/>
                <a:gd name="connsiteY125" fmla="*/ 85493 h 124690"/>
                <a:gd name="connsiteX126" fmla="*/ 46164 w 307934"/>
                <a:gd name="connsiteY126" fmla="*/ 93371 h 124690"/>
                <a:gd name="connsiteX127" fmla="*/ 0 w 307934"/>
                <a:gd name="connsiteY127" fmla="*/ 93371 h 12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07934" h="124690">
                  <a:moveTo>
                    <a:pt x="233576" y="32361"/>
                  </a:moveTo>
                  <a:cubicBezTo>
                    <a:pt x="230755" y="32361"/>
                    <a:pt x="228139" y="32860"/>
                    <a:pt x="225730" y="33858"/>
                  </a:cubicBezTo>
                  <a:cubicBezTo>
                    <a:pt x="223321" y="34857"/>
                    <a:pt x="221205" y="36300"/>
                    <a:pt x="219382" y="38188"/>
                  </a:cubicBezTo>
                  <a:cubicBezTo>
                    <a:pt x="217558" y="40077"/>
                    <a:pt x="216050" y="42377"/>
                    <a:pt x="214856" y="45090"/>
                  </a:cubicBezTo>
                  <a:cubicBezTo>
                    <a:pt x="213663" y="47803"/>
                    <a:pt x="212827" y="50853"/>
                    <a:pt x="212349" y="54239"/>
                  </a:cubicBezTo>
                  <a:lnTo>
                    <a:pt x="251742" y="54239"/>
                  </a:lnTo>
                  <a:cubicBezTo>
                    <a:pt x="251612" y="47293"/>
                    <a:pt x="249963" y="41911"/>
                    <a:pt x="246794" y="38091"/>
                  </a:cubicBezTo>
                  <a:cubicBezTo>
                    <a:pt x="243625" y="34271"/>
                    <a:pt x="239219" y="32361"/>
                    <a:pt x="233576" y="32361"/>
                  </a:cubicBezTo>
                  <a:close/>
                  <a:moveTo>
                    <a:pt x="158613" y="32361"/>
                  </a:moveTo>
                  <a:cubicBezTo>
                    <a:pt x="155141" y="32361"/>
                    <a:pt x="152004" y="33034"/>
                    <a:pt x="149204" y="34379"/>
                  </a:cubicBezTo>
                  <a:cubicBezTo>
                    <a:pt x="146405" y="35725"/>
                    <a:pt x="144017" y="37635"/>
                    <a:pt x="142042" y="40109"/>
                  </a:cubicBezTo>
                  <a:cubicBezTo>
                    <a:pt x="140067" y="42584"/>
                    <a:pt x="138548" y="45590"/>
                    <a:pt x="137484" y="49127"/>
                  </a:cubicBezTo>
                  <a:cubicBezTo>
                    <a:pt x="136421" y="52665"/>
                    <a:pt x="135889" y="56648"/>
                    <a:pt x="135889" y="61075"/>
                  </a:cubicBezTo>
                  <a:cubicBezTo>
                    <a:pt x="135889" y="65156"/>
                    <a:pt x="136388" y="68846"/>
                    <a:pt x="137387" y="72145"/>
                  </a:cubicBezTo>
                  <a:cubicBezTo>
                    <a:pt x="138385" y="75444"/>
                    <a:pt x="139796" y="78243"/>
                    <a:pt x="141619" y="80544"/>
                  </a:cubicBezTo>
                  <a:cubicBezTo>
                    <a:pt x="143442" y="82845"/>
                    <a:pt x="145645" y="84624"/>
                    <a:pt x="148228" y="85883"/>
                  </a:cubicBezTo>
                  <a:cubicBezTo>
                    <a:pt x="150811" y="87142"/>
                    <a:pt x="153686" y="87771"/>
                    <a:pt x="156855" y="87771"/>
                  </a:cubicBezTo>
                  <a:cubicBezTo>
                    <a:pt x="160154" y="87771"/>
                    <a:pt x="163149" y="87175"/>
                    <a:pt x="165841" y="85981"/>
                  </a:cubicBezTo>
                  <a:cubicBezTo>
                    <a:pt x="168532" y="84787"/>
                    <a:pt x="170833" y="83138"/>
                    <a:pt x="172743" y="81032"/>
                  </a:cubicBezTo>
                  <a:cubicBezTo>
                    <a:pt x="174653" y="78927"/>
                    <a:pt x="176128" y="76453"/>
                    <a:pt x="177170" y="73610"/>
                  </a:cubicBezTo>
                  <a:cubicBezTo>
                    <a:pt x="178212" y="70766"/>
                    <a:pt x="178733" y="67695"/>
                    <a:pt x="178733" y="64396"/>
                  </a:cubicBezTo>
                  <a:lnTo>
                    <a:pt x="178733" y="52871"/>
                  </a:lnTo>
                  <a:cubicBezTo>
                    <a:pt x="178733" y="50093"/>
                    <a:pt x="178234" y="47467"/>
                    <a:pt x="177235" y="44993"/>
                  </a:cubicBezTo>
                  <a:cubicBezTo>
                    <a:pt x="176237" y="42518"/>
                    <a:pt x="174848" y="40348"/>
                    <a:pt x="173068" y="38481"/>
                  </a:cubicBezTo>
                  <a:cubicBezTo>
                    <a:pt x="171288" y="36615"/>
                    <a:pt x="169172" y="35128"/>
                    <a:pt x="166720" y="34021"/>
                  </a:cubicBezTo>
                  <a:cubicBezTo>
                    <a:pt x="164267" y="32914"/>
                    <a:pt x="161565" y="32361"/>
                    <a:pt x="158613" y="32361"/>
                  </a:cubicBezTo>
                  <a:close/>
                  <a:moveTo>
                    <a:pt x="90701" y="32361"/>
                  </a:moveTo>
                  <a:cubicBezTo>
                    <a:pt x="87880" y="32361"/>
                    <a:pt x="85264" y="32860"/>
                    <a:pt x="82855" y="33858"/>
                  </a:cubicBezTo>
                  <a:cubicBezTo>
                    <a:pt x="80446" y="34857"/>
                    <a:pt x="78330" y="36300"/>
                    <a:pt x="76507" y="38188"/>
                  </a:cubicBezTo>
                  <a:cubicBezTo>
                    <a:pt x="74683" y="40077"/>
                    <a:pt x="73175" y="42377"/>
                    <a:pt x="71981" y="45090"/>
                  </a:cubicBezTo>
                  <a:cubicBezTo>
                    <a:pt x="70788" y="47803"/>
                    <a:pt x="69952" y="50853"/>
                    <a:pt x="69474" y="54239"/>
                  </a:cubicBezTo>
                  <a:lnTo>
                    <a:pt x="108867" y="54239"/>
                  </a:lnTo>
                  <a:cubicBezTo>
                    <a:pt x="108737" y="47293"/>
                    <a:pt x="107088" y="41911"/>
                    <a:pt x="103919" y="38091"/>
                  </a:cubicBezTo>
                  <a:cubicBezTo>
                    <a:pt x="100750" y="34271"/>
                    <a:pt x="96344" y="32361"/>
                    <a:pt x="90701" y="32361"/>
                  </a:cubicBezTo>
                  <a:close/>
                  <a:moveTo>
                    <a:pt x="301423" y="25459"/>
                  </a:moveTo>
                  <a:cubicBezTo>
                    <a:pt x="302769" y="25459"/>
                    <a:pt x="303973" y="25546"/>
                    <a:pt x="305037" y="25719"/>
                  </a:cubicBezTo>
                  <a:cubicBezTo>
                    <a:pt x="306100" y="25893"/>
                    <a:pt x="307066" y="26154"/>
                    <a:pt x="307934" y="26501"/>
                  </a:cubicBezTo>
                  <a:lnTo>
                    <a:pt x="307934" y="35226"/>
                  </a:lnTo>
                  <a:cubicBezTo>
                    <a:pt x="305981" y="33793"/>
                    <a:pt x="303463" y="33077"/>
                    <a:pt x="300381" y="33077"/>
                  </a:cubicBezTo>
                  <a:cubicBezTo>
                    <a:pt x="298168" y="33077"/>
                    <a:pt x="296214" y="33500"/>
                    <a:pt x="294521" y="34347"/>
                  </a:cubicBezTo>
                  <a:cubicBezTo>
                    <a:pt x="292828" y="35193"/>
                    <a:pt x="291342" y="36333"/>
                    <a:pt x="290061" y="37765"/>
                  </a:cubicBezTo>
                  <a:cubicBezTo>
                    <a:pt x="288780" y="39198"/>
                    <a:pt x="287695" y="40858"/>
                    <a:pt x="286805" y="42746"/>
                  </a:cubicBezTo>
                  <a:cubicBezTo>
                    <a:pt x="285916" y="44635"/>
                    <a:pt x="285199" y="46599"/>
                    <a:pt x="284657" y="48639"/>
                  </a:cubicBezTo>
                  <a:cubicBezTo>
                    <a:pt x="284114" y="50679"/>
                    <a:pt x="283723" y="52741"/>
                    <a:pt x="283485" y="54825"/>
                  </a:cubicBezTo>
                  <a:cubicBezTo>
                    <a:pt x="283246" y="56908"/>
                    <a:pt x="283127" y="58883"/>
                    <a:pt x="283127" y="60750"/>
                  </a:cubicBezTo>
                  <a:lnTo>
                    <a:pt x="283127" y="93371"/>
                  </a:lnTo>
                  <a:lnTo>
                    <a:pt x="274857" y="93371"/>
                  </a:lnTo>
                  <a:lnTo>
                    <a:pt x="274857" y="26696"/>
                  </a:lnTo>
                  <a:lnTo>
                    <a:pt x="283127" y="26696"/>
                  </a:lnTo>
                  <a:lnTo>
                    <a:pt x="283127" y="40956"/>
                  </a:lnTo>
                  <a:lnTo>
                    <a:pt x="283387" y="40956"/>
                  </a:lnTo>
                  <a:cubicBezTo>
                    <a:pt x="284168" y="38525"/>
                    <a:pt x="285156" y="36344"/>
                    <a:pt x="286350" y="34412"/>
                  </a:cubicBezTo>
                  <a:cubicBezTo>
                    <a:pt x="287543" y="32480"/>
                    <a:pt x="288922" y="30852"/>
                    <a:pt x="290484" y="29529"/>
                  </a:cubicBezTo>
                  <a:cubicBezTo>
                    <a:pt x="292047" y="28205"/>
                    <a:pt x="293751" y="27195"/>
                    <a:pt x="295596" y="26501"/>
                  </a:cubicBezTo>
                  <a:cubicBezTo>
                    <a:pt x="297440" y="25806"/>
                    <a:pt x="299383" y="25459"/>
                    <a:pt x="301423" y="25459"/>
                  </a:cubicBezTo>
                  <a:close/>
                  <a:moveTo>
                    <a:pt x="233771" y="25133"/>
                  </a:moveTo>
                  <a:cubicBezTo>
                    <a:pt x="238069" y="25133"/>
                    <a:pt x="241867" y="25882"/>
                    <a:pt x="245166" y="27380"/>
                  </a:cubicBezTo>
                  <a:cubicBezTo>
                    <a:pt x="248465" y="28877"/>
                    <a:pt x="251232" y="31015"/>
                    <a:pt x="253468" y="33793"/>
                  </a:cubicBezTo>
                  <a:cubicBezTo>
                    <a:pt x="255703" y="36572"/>
                    <a:pt x="257407" y="39957"/>
                    <a:pt x="258579" y="43951"/>
                  </a:cubicBezTo>
                  <a:cubicBezTo>
                    <a:pt x="259751" y="47944"/>
                    <a:pt x="260337" y="52415"/>
                    <a:pt x="260337" y="57364"/>
                  </a:cubicBezTo>
                  <a:lnTo>
                    <a:pt x="260337" y="61531"/>
                  </a:lnTo>
                  <a:lnTo>
                    <a:pt x="212154" y="61531"/>
                  </a:lnTo>
                  <a:cubicBezTo>
                    <a:pt x="212198" y="65612"/>
                    <a:pt x="212740" y="69280"/>
                    <a:pt x="213782" y="72535"/>
                  </a:cubicBezTo>
                  <a:cubicBezTo>
                    <a:pt x="214824" y="75791"/>
                    <a:pt x="216321" y="78547"/>
                    <a:pt x="218275" y="80804"/>
                  </a:cubicBezTo>
                  <a:cubicBezTo>
                    <a:pt x="220228" y="83062"/>
                    <a:pt x="222605" y="84787"/>
                    <a:pt x="225404" y="85981"/>
                  </a:cubicBezTo>
                  <a:cubicBezTo>
                    <a:pt x="228204" y="87175"/>
                    <a:pt x="231362" y="87771"/>
                    <a:pt x="234878" y="87771"/>
                  </a:cubicBezTo>
                  <a:cubicBezTo>
                    <a:pt x="242388" y="87771"/>
                    <a:pt x="249485" y="85145"/>
                    <a:pt x="256170" y="79893"/>
                  </a:cubicBezTo>
                  <a:lnTo>
                    <a:pt x="256170" y="88097"/>
                  </a:lnTo>
                  <a:cubicBezTo>
                    <a:pt x="249789" y="92655"/>
                    <a:pt x="242062" y="94934"/>
                    <a:pt x="232990" y="94934"/>
                  </a:cubicBezTo>
                  <a:cubicBezTo>
                    <a:pt x="228519" y="94934"/>
                    <a:pt x="224460" y="94152"/>
                    <a:pt x="220814" y="92590"/>
                  </a:cubicBezTo>
                  <a:cubicBezTo>
                    <a:pt x="217168" y="91027"/>
                    <a:pt x="214064" y="88759"/>
                    <a:pt x="211503" y="85786"/>
                  </a:cubicBezTo>
                  <a:cubicBezTo>
                    <a:pt x="208942" y="82812"/>
                    <a:pt x="206967" y="79155"/>
                    <a:pt x="205578" y="74814"/>
                  </a:cubicBezTo>
                  <a:cubicBezTo>
                    <a:pt x="204189" y="70473"/>
                    <a:pt x="203494" y="65525"/>
                    <a:pt x="203494" y="59969"/>
                  </a:cubicBezTo>
                  <a:cubicBezTo>
                    <a:pt x="203494" y="54977"/>
                    <a:pt x="204254" y="50354"/>
                    <a:pt x="205773" y="46100"/>
                  </a:cubicBezTo>
                  <a:cubicBezTo>
                    <a:pt x="207292" y="41846"/>
                    <a:pt x="209398" y="38167"/>
                    <a:pt x="212089" y="35063"/>
                  </a:cubicBezTo>
                  <a:cubicBezTo>
                    <a:pt x="214780" y="31959"/>
                    <a:pt x="217971" y="29529"/>
                    <a:pt x="221661" y="27770"/>
                  </a:cubicBezTo>
                  <a:cubicBezTo>
                    <a:pt x="225350" y="26012"/>
                    <a:pt x="229387" y="25133"/>
                    <a:pt x="233771" y="25133"/>
                  </a:cubicBezTo>
                  <a:close/>
                  <a:moveTo>
                    <a:pt x="157832" y="25133"/>
                  </a:moveTo>
                  <a:cubicBezTo>
                    <a:pt x="167251" y="25133"/>
                    <a:pt x="174132" y="28953"/>
                    <a:pt x="178472" y="36593"/>
                  </a:cubicBezTo>
                  <a:lnTo>
                    <a:pt x="178733" y="36593"/>
                  </a:lnTo>
                  <a:lnTo>
                    <a:pt x="178733" y="26696"/>
                  </a:lnTo>
                  <a:lnTo>
                    <a:pt x="187067" y="26696"/>
                  </a:lnTo>
                  <a:lnTo>
                    <a:pt x="187067" y="88227"/>
                  </a:lnTo>
                  <a:cubicBezTo>
                    <a:pt x="187067" y="100599"/>
                    <a:pt x="184257" y="109769"/>
                    <a:pt x="178635" y="115737"/>
                  </a:cubicBezTo>
                  <a:cubicBezTo>
                    <a:pt x="173014" y="121706"/>
                    <a:pt x="164343" y="124690"/>
                    <a:pt x="152623" y="124690"/>
                  </a:cubicBezTo>
                  <a:cubicBezTo>
                    <a:pt x="145330" y="124690"/>
                    <a:pt x="138428" y="123062"/>
                    <a:pt x="131917" y="119807"/>
                  </a:cubicBezTo>
                  <a:lnTo>
                    <a:pt x="131917" y="111342"/>
                  </a:lnTo>
                  <a:cubicBezTo>
                    <a:pt x="139166" y="115379"/>
                    <a:pt x="146068" y="117398"/>
                    <a:pt x="152623" y="117398"/>
                  </a:cubicBezTo>
                  <a:cubicBezTo>
                    <a:pt x="170030" y="117398"/>
                    <a:pt x="178733" y="108195"/>
                    <a:pt x="178733" y="89790"/>
                  </a:cubicBezTo>
                  <a:lnTo>
                    <a:pt x="178733" y="81781"/>
                  </a:lnTo>
                  <a:lnTo>
                    <a:pt x="178472" y="81781"/>
                  </a:lnTo>
                  <a:cubicBezTo>
                    <a:pt x="173350" y="90550"/>
                    <a:pt x="165537" y="94934"/>
                    <a:pt x="155032" y="94934"/>
                  </a:cubicBezTo>
                  <a:cubicBezTo>
                    <a:pt x="150908" y="94934"/>
                    <a:pt x="147143" y="94174"/>
                    <a:pt x="143735" y="92655"/>
                  </a:cubicBezTo>
                  <a:cubicBezTo>
                    <a:pt x="140328" y="91136"/>
                    <a:pt x="137408" y="88943"/>
                    <a:pt x="134977" y="86079"/>
                  </a:cubicBezTo>
                  <a:cubicBezTo>
                    <a:pt x="132547" y="83214"/>
                    <a:pt x="130658" y="79730"/>
                    <a:pt x="129313" y="75628"/>
                  </a:cubicBezTo>
                  <a:cubicBezTo>
                    <a:pt x="127967" y="71526"/>
                    <a:pt x="127294" y="66892"/>
                    <a:pt x="127294" y="61727"/>
                  </a:cubicBezTo>
                  <a:cubicBezTo>
                    <a:pt x="127294" y="56257"/>
                    <a:pt x="128010" y="51276"/>
                    <a:pt x="129443" y="46783"/>
                  </a:cubicBezTo>
                  <a:cubicBezTo>
                    <a:pt x="130875" y="42291"/>
                    <a:pt x="132916" y="38438"/>
                    <a:pt x="135563" y="35226"/>
                  </a:cubicBezTo>
                  <a:cubicBezTo>
                    <a:pt x="138211" y="32014"/>
                    <a:pt x="141413" y="29529"/>
                    <a:pt x="145168" y="27770"/>
                  </a:cubicBezTo>
                  <a:cubicBezTo>
                    <a:pt x="148922" y="26012"/>
                    <a:pt x="153144" y="25133"/>
                    <a:pt x="157832" y="25133"/>
                  </a:cubicBezTo>
                  <a:close/>
                  <a:moveTo>
                    <a:pt x="90896" y="25133"/>
                  </a:moveTo>
                  <a:cubicBezTo>
                    <a:pt x="95194" y="25133"/>
                    <a:pt x="98992" y="25882"/>
                    <a:pt x="102291" y="27380"/>
                  </a:cubicBezTo>
                  <a:cubicBezTo>
                    <a:pt x="105590" y="28877"/>
                    <a:pt x="108357" y="31015"/>
                    <a:pt x="110593" y="33793"/>
                  </a:cubicBezTo>
                  <a:cubicBezTo>
                    <a:pt x="112828" y="36572"/>
                    <a:pt x="114532" y="39957"/>
                    <a:pt x="115704" y="43951"/>
                  </a:cubicBezTo>
                  <a:cubicBezTo>
                    <a:pt x="116876" y="47944"/>
                    <a:pt x="117462" y="52415"/>
                    <a:pt x="117462" y="57364"/>
                  </a:cubicBezTo>
                  <a:lnTo>
                    <a:pt x="117462" y="61531"/>
                  </a:lnTo>
                  <a:lnTo>
                    <a:pt x="69279" y="61531"/>
                  </a:lnTo>
                  <a:cubicBezTo>
                    <a:pt x="69323" y="65612"/>
                    <a:pt x="69865" y="69280"/>
                    <a:pt x="70907" y="72535"/>
                  </a:cubicBezTo>
                  <a:cubicBezTo>
                    <a:pt x="71949" y="75791"/>
                    <a:pt x="73446" y="78547"/>
                    <a:pt x="75400" y="80804"/>
                  </a:cubicBezTo>
                  <a:cubicBezTo>
                    <a:pt x="77353" y="83062"/>
                    <a:pt x="79730" y="84787"/>
                    <a:pt x="82529" y="85981"/>
                  </a:cubicBezTo>
                  <a:cubicBezTo>
                    <a:pt x="85329" y="87175"/>
                    <a:pt x="88487" y="87771"/>
                    <a:pt x="92003" y="87771"/>
                  </a:cubicBezTo>
                  <a:cubicBezTo>
                    <a:pt x="99513" y="87771"/>
                    <a:pt x="106610" y="85145"/>
                    <a:pt x="113295" y="79893"/>
                  </a:cubicBezTo>
                  <a:lnTo>
                    <a:pt x="113295" y="88097"/>
                  </a:lnTo>
                  <a:cubicBezTo>
                    <a:pt x="106914" y="92655"/>
                    <a:pt x="99187" y="94934"/>
                    <a:pt x="90115" y="94934"/>
                  </a:cubicBezTo>
                  <a:cubicBezTo>
                    <a:pt x="85644" y="94934"/>
                    <a:pt x="81585" y="94152"/>
                    <a:pt x="77939" y="92590"/>
                  </a:cubicBezTo>
                  <a:cubicBezTo>
                    <a:pt x="74293" y="91027"/>
                    <a:pt x="71189" y="88759"/>
                    <a:pt x="68628" y="85786"/>
                  </a:cubicBezTo>
                  <a:cubicBezTo>
                    <a:pt x="66067" y="82812"/>
                    <a:pt x="64092" y="79155"/>
                    <a:pt x="62703" y="74814"/>
                  </a:cubicBezTo>
                  <a:cubicBezTo>
                    <a:pt x="61314" y="70473"/>
                    <a:pt x="60619" y="65525"/>
                    <a:pt x="60619" y="59969"/>
                  </a:cubicBezTo>
                  <a:cubicBezTo>
                    <a:pt x="60619" y="54977"/>
                    <a:pt x="61379" y="50354"/>
                    <a:pt x="62898" y="46100"/>
                  </a:cubicBezTo>
                  <a:cubicBezTo>
                    <a:pt x="64417" y="41846"/>
                    <a:pt x="66523" y="38167"/>
                    <a:pt x="69214" y="35063"/>
                  </a:cubicBezTo>
                  <a:cubicBezTo>
                    <a:pt x="71905" y="31959"/>
                    <a:pt x="75096" y="29529"/>
                    <a:pt x="78786" y="27770"/>
                  </a:cubicBezTo>
                  <a:cubicBezTo>
                    <a:pt x="82475" y="26012"/>
                    <a:pt x="86512" y="25133"/>
                    <a:pt x="90896" y="25133"/>
                  </a:cubicBezTo>
                  <a:close/>
                  <a:moveTo>
                    <a:pt x="0" y="0"/>
                  </a:moveTo>
                  <a:lnTo>
                    <a:pt x="8660" y="0"/>
                  </a:lnTo>
                  <a:lnTo>
                    <a:pt x="8660" y="85493"/>
                  </a:lnTo>
                  <a:lnTo>
                    <a:pt x="46164" y="85493"/>
                  </a:lnTo>
                  <a:lnTo>
                    <a:pt x="46164" y="93371"/>
                  </a:lnTo>
                  <a:lnTo>
                    <a:pt x="0" y="93371"/>
                  </a:lnTo>
                  <a:close/>
                </a:path>
              </a:pathLst>
            </a:custGeom>
            <a:grpFill/>
            <a:ln>
              <a:noFill/>
            </a:ln>
            <a:effec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896386" rtl="0" eaLnBrk="1" fontAlgn="auto" latinLnBrk="0" hangingPunct="1">
                <a:lnSpc>
                  <a:spcPct val="100000"/>
                </a:lnSpc>
                <a:spcBef>
                  <a:spcPts val="0"/>
                </a:spcBef>
                <a:spcAft>
                  <a:spcPts val="588"/>
                </a:spcAft>
                <a:buClrTx/>
                <a:buSzTx/>
                <a:buFontTx/>
                <a:buNone/>
                <a:tabLst/>
                <a:defRPr/>
              </a:pPr>
              <a:endParaRPr kumimoji="0" lang="en-US" sz="1050" b="0" i="0" u="none" strike="noStrike" kern="0" cap="none" spc="0" normalizeH="0" baseline="0" noProof="0">
                <a:ln>
                  <a:noFill/>
                </a:ln>
                <a:solidFill>
                  <a:srgbClr val="1A1A1A"/>
                </a:solidFill>
                <a:effectLst/>
                <a:uLnTx/>
                <a:uFillTx/>
                <a:latin typeface="Segoe UI"/>
                <a:ea typeface="+mn-ea"/>
                <a:cs typeface="+mn-cs"/>
              </a:endParaRPr>
            </a:p>
          </p:txBody>
        </p:sp>
        <p:sp>
          <p:nvSpPr>
            <p:cNvPr id="165" name="TextBox 164">
              <a:extLst>
                <a:ext uri="{FF2B5EF4-FFF2-40B4-BE49-F238E27FC236}">
                  <a16:creationId xmlns:a16="http://schemas.microsoft.com/office/drawing/2014/main" id="{947A6CED-51D3-4D0C-8882-13722CE15AE4}"/>
                </a:ext>
              </a:extLst>
            </p:cNvPr>
            <p:cNvSpPr txBox="1"/>
            <p:nvPr/>
          </p:nvSpPr>
          <p:spPr>
            <a:xfrm>
              <a:off x="7104104" y="2421870"/>
              <a:ext cx="480492" cy="239438"/>
            </a:xfrm>
            <a:custGeom>
              <a:avLst/>
              <a:gdLst>
                <a:gd name="connsiteX0" fmla="*/ 366434 w 480492"/>
                <a:gd name="connsiteY0" fmla="*/ 203039 h 239438"/>
                <a:gd name="connsiteX1" fmla="*/ 349244 w 480492"/>
                <a:gd name="connsiteY1" fmla="*/ 205448 h 239438"/>
                <a:gd name="connsiteX2" fmla="*/ 341561 w 480492"/>
                <a:gd name="connsiteY2" fmla="*/ 207076 h 239438"/>
                <a:gd name="connsiteX3" fmla="*/ 336287 w 480492"/>
                <a:gd name="connsiteY3" fmla="*/ 209713 h 239438"/>
                <a:gd name="connsiteX4" fmla="*/ 333226 w 480492"/>
                <a:gd name="connsiteY4" fmla="*/ 213815 h 239438"/>
                <a:gd name="connsiteX5" fmla="*/ 332250 w 480492"/>
                <a:gd name="connsiteY5" fmla="*/ 219838 h 239438"/>
                <a:gd name="connsiteX6" fmla="*/ 333194 w 480492"/>
                <a:gd name="connsiteY6" fmla="*/ 224787 h 239438"/>
                <a:gd name="connsiteX7" fmla="*/ 335928 w 480492"/>
                <a:gd name="connsiteY7" fmla="*/ 228726 h 239438"/>
                <a:gd name="connsiteX8" fmla="*/ 340291 w 480492"/>
                <a:gd name="connsiteY8" fmla="*/ 231298 h 239438"/>
                <a:gd name="connsiteX9" fmla="*/ 346119 w 480492"/>
                <a:gd name="connsiteY9" fmla="*/ 232209 h 239438"/>
                <a:gd name="connsiteX10" fmla="*/ 354258 w 480492"/>
                <a:gd name="connsiteY10" fmla="*/ 230517 h 239438"/>
                <a:gd name="connsiteX11" fmla="*/ 360671 w 480492"/>
                <a:gd name="connsiteY11" fmla="*/ 225828 h 239438"/>
                <a:gd name="connsiteX12" fmla="*/ 364903 w 480492"/>
                <a:gd name="connsiteY12" fmla="*/ 218666 h 239438"/>
                <a:gd name="connsiteX13" fmla="*/ 366434 w 480492"/>
                <a:gd name="connsiteY13" fmla="*/ 209616 h 239438"/>
                <a:gd name="connsiteX14" fmla="*/ 117825 w 480492"/>
                <a:gd name="connsiteY14" fmla="*/ 176799 h 239438"/>
                <a:gd name="connsiteX15" fmla="*/ 107928 w 480492"/>
                <a:gd name="connsiteY15" fmla="*/ 178687 h 239438"/>
                <a:gd name="connsiteX16" fmla="*/ 100343 w 480492"/>
                <a:gd name="connsiteY16" fmla="*/ 184189 h 239438"/>
                <a:gd name="connsiteX17" fmla="*/ 95492 w 480492"/>
                <a:gd name="connsiteY17" fmla="*/ 193044 h 239438"/>
                <a:gd name="connsiteX18" fmla="*/ 93799 w 480492"/>
                <a:gd name="connsiteY18" fmla="*/ 204927 h 239438"/>
                <a:gd name="connsiteX19" fmla="*/ 95492 w 480492"/>
                <a:gd name="connsiteY19" fmla="*/ 216192 h 239438"/>
                <a:gd name="connsiteX20" fmla="*/ 100278 w 480492"/>
                <a:gd name="connsiteY20" fmla="*/ 224787 h 239438"/>
                <a:gd name="connsiteX21" fmla="*/ 107798 w 480492"/>
                <a:gd name="connsiteY21" fmla="*/ 230289 h 239438"/>
                <a:gd name="connsiteX22" fmla="*/ 117695 w 480492"/>
                <a:gd name="connsiteY22" fmla="*/ 232209 h 239438"/>
                <a:gd name="connsiteX23" fmla="*/ 127592 w 480492"/>
                <a:gd name="connsiteY23" fmla="*/ 230354 h 239438"/>
                <a:gd name="connsiteX24" fmla="*/ 134885 w 480492"/>
                <a:gd name="connsiteY24" fmla="*/ 224949 h 239438"/>
                <a:gd name="connsiteX25" fmla="*/ 139410 w 480492"/>
                <a:gd name="connsiteY25" fmla="*/ 216257 h 239438"/>
                <a:gd name="connsiteX26" fmla="*/ 140940 w 480492"/>
                <a:gd name="connsiteY26" fmla="*/ 204537 h 239438"/>
                <a:gd name="connsiteX27" fmla="*/ 134950 w 480492"/>
                <a:gd name="connsiteY27" fmla="*/ 183929 h 239438"/>
                <a:gd name="connsiteX28" fmla="*/ 117825 w 480492"/>
                <a:gd name="connsiteY28" fmla="*/ 176799 h 239438"/>
                <a:gd name="connsiteX29" fmla="*/ 306958 w 480492"/>
                <a:gd name="connsiteY29" fmla="*/ 169897 h 239438"/>
                <a:gd name="connsiteX30" fmla="*/ 310572 w 480492"/>
                <a:gd name="connsiteY30" fmla="*/ 170157 h 239438"/>
                <a:gd name="connsiteX31" fmla="*/ 313469 w 480492"/>
                <a:gd name="connsiteY31" fmla="*/ 170939 h 239438"/>
                <a:gd name="connsiteX32" fmla="*/ 313469 w 480492"/>
                <a:gd name="connsiteY32" fmla="*/ 179664 h 239438"/>
                <a:gd name="connsiteX33" fmla="*/ 305916 w 480492"/>
                <a:gd name="connsiteY33" fmla="*/ 177515 h 239438"/>
                <a:gd name="connsiteX34" fmla="*/ 300056 w 480492"/>
                <a:gd name="connsiteY34" fmla="*/ 178785 h 239438"/>
                <a:gd name="connsiteX35" fmla="*/ 295596 w 480492"/>
                <a:gd name="connsiteY35" fmla="*/ 182203 h 239438"/>
                <a:gd name="connsiteX36" fmla="*/ 292340 w 480492"/>
                <a:gd name="connsiteY36" fmla="*/ 187184 h 239438"/>
                <a:gd name="connsiteX37" fmla="*/ 290192 w 480492"/>
                <a:gd name="connsiteY37" fmla="*/ 193077 h 239438"/>
                <a:gd name="connsiteX38" fmla="*/ 289020 w 480492"/>
                <a:gd name="connsiteY38" fmla="*/ 199263 h 239438"/>
                <a:gd name="connsiteX39" fmla="*/ 288662 w 480492"/>
                <a:gd name="connsiteY39" fmla="*/ 205188 h 239438"/>
                <a:gd name="connsiteX40" fmla="*/ 288662 w 480492"/>
                <a:gd name="connsiteY40" fmla="*/ 237809 h 239438"/>
                <a:gd name="connsiteX41" fmla="*/ 280392 w 480492"/>
                <a:gd name="connsiteY41" fmla="*/ 237809 h 239438"/>
                <a:gd name="connsiteX42" fmla="*/ 280392 w 480492"/>
                <a:gd name="connsiteY42" fmla="*/ 171134 h 239438"/>
                <a:gd name="connsiteX43" fmla="*/ 288662 w 480492"/>
                <a:gd name="connsiteY43" fmla="*/ 171134 h 239438"/>
                <a:gd name="connsiteX44" fmla="*/ 288662 w 480492"/>
                <a:gd name="connsiteY44" fmla="*/ 185394 h 239438"/>
                <a:gd name="connsiteX45" fmla="*/ 288922 w 480492"/>
                <a:gd name="connsiteY45" fmla="*/ 185394 h 239438"/>
                <a:gd name="connsiteX46" fmla="*/ 291885 w 480492"/>
                <a:gd name="connsiteY46" fmla="*/ 178850 h 239438"/>
                <a:gd name="connsiteX47" fmla="*/ 296019 w 480492"/>
                <a:gd name="connsiteY47" fmla="*/ 173967 h 239438"/>
                <a:gd name="connsiteX48" fmla="*/ 301131 w 480492"/>
                <a:gd name="connsiteY48" fmla="*/ 170939 h 239438"/>
                <a:gd name="connsiteX49" fmla="*/ 306958 w 480492"/>
                <a:gd name="connsiteY49" fmla="*/ 169897 h 239438"/>
                <a:gd name="connsiteX50" fmla="*/ 424123 w 480492"/>
                <a:gd name="connsiteY50" fmla="*/ 169571 h 239438"/>
                <a:gd name="connsiteX51" fmla="*/ 439229 w 480492"/>
                <a:gd name="connsiteY51" fmla="*/ 172762 h 239438"/>
                <a:gd name="connsiteX52" fmla="*/ 439229 w 480492"/>
                <a:gd name="connsiteY52" fmla="*/ 181617 h 239438"/>
                <a:gd name="connsiteX53" fmla="*/ 423472 w 480492"/>
                <a:gd name="connsiteY53" fmla="*/ 176799 h 239438"/>
                <a:gd name="connsiteX54" fmla="*/ 412924 w 480492"/>
                <a:gd name="connsiteY54" fmla="*/ 179045 h 239438"/>
                <a:gd name="connsiteX55" fmla="*/ 405143 w 480492"/>
                <a:gd name="connsiteY55" fmla="*/ 185166 h 239438"/>
                <a:gd name="connsiteX56" fmla="*/ 400325 w 480492"/>
                <a:gd name="connsiteY56" fmla="*/ 194216 h 239438"/>
                <a:gd name="connsiteX57" fmla="*/ 398664 w 480492"/>
                <a:gd name="connsiteY57" fmla="*/ 205188 h 239438"/>
                <a:gd name="connsiteX58" fmla="*/ 400064 w 480492"/>
                <a:gd name="connsiteY58" fmla="*/ 215411 h 239438"/>
                <a:gd name="connsiteX59" fmla="*/ 404361 w 480492"/>
                <a:gd name="connsiteY59" fmla="*/ 224038 h 239438"/>
                <a:gd name="connsiteX60" fmla="*/ 411687 w 480492"/>
                <a:gd name="connsiteY60" fmla="*/ 229996 h 239438"/>
                <a:gd name="connsiteX61" fmla="*/ 422105 w 480492"/>
                <a:gd name="connsiteY61" fmla="*/ 232209 h 239438"/>
                <a:gd name="connsiteX62" fmla="*/ 439034 w 480492"/>
                <a:gd name="connsiteY62" fmla="*/ 226610 h 239438"/>
                <a:gd name="connsiteX63" fmla="*/ 439034 w 480492"/>
                <a:gd name="connsiteY63" fmla="*/ 234814 h 239438"/>
                <a:gd name="connsiteX64" fmla="*/ 421063 w 480492"/>
                <a:gd name="connsiteY64" fmla="*/ 239437 h 239438"/>
                <a:gd name="connsiteX65" fmla="*/ 408171 w 480492"/>
                <a:gd name="connsiteY65" fmla="*/ 236963 h 239438"/>
                <a:gd name="connsiteX66" fmla="*/ 398404 w 480492"/>
                <a:gd name="connsiteY66" fmla="*/ 229898 h 239438"/>
                <a:gd name="connsiteX67" fmla="*/ 392218 w 480492"/>
                <a:gd name="connsiteY67" fmla="*/ 219220 h 239438"/>
                <a:gd name="connsiteX68" fmla="*/ 390069 w 480492"/>
                <a:gd name="connsiteY68" fmla="*/ 205839 h 239438"/>
                <a:gd name="connsiteX69" fmla="*/ 392348 w 480492"/>
                <a:gd name="connsiteY69" fmla="*/ 191742 h 239438"/>
                <a:gd name="connsiteX70" fmla="*/ 398990 w 480492"/>
                <a:gd name="connsiteY70" fmla="*/ 180217 h 239438"/>
                <a:gd name="connsiteX71" fmla="*/ 409668 w 480492"/>
                <a:gd name="connsiteY71" fmla="*/ 172436 h 239438"/>
                <a:gd name="connsiteX72" fmla="*/ 424123 w 480492"/>
                <a:gd name="connsiteY72" fmla="*/ 169571 h 239438"/>
                <a:gd name="connsiteX73" fmla="*/ 352239 w 480492"/>
                <a:gd name="connsiteY73" fmla="*/ 169571 h 239438"/>
                <a:gd name="connsiteX74" fmla="*/ 369071 w 480492"/>
                <a:gd name="connsiteY74" fmla="*/ 175822 h 239438"/>
                <a:gd name="connsiteX75" fmla="*/ 374768 w 480492"/>
                <a:gd name="connsiteY75" fmla="*/ 194444 h 239438"/>
                <a:gd name="connsiteX76" fmla="*/ 374768 w 480492"/>
                <a:gd name="connsiteY76" fmla="*/ 237809 h 239438"/>
                <a:gd name="connsiteX77" fmla="*/ 366434 w 480492"/>
                <a:gd name="connsiteY77" fmla="*/ 237809 h 239438"/>
                <a:gd name="connsiteX78" fmla="*/ 366434 w 480492"/>
                <a:gd name="connsiteY78" fmla="*/ 225959 h 239438"/>
                <a:gd name="connsiteX79" fmla="*/ 366173 w 480492"/>
                <a:gd name="connsiteY79" fmla="*/ 225959 h 239438"/>
                <a:gd name="connsiteX80" fmla="*/ 357285 w 480492"/>
                <a:gd name="connsiteY80" fmla="*/ 235856 h 239438"/>
                <a:gd name="connsiteX81" fmla="*/ 344556 w 480492"/>
                <a:gd name="connsiteY81" fmla="*/ 239372 h 239438"/>
                <a:gd name="connsiteX82" fmla="*/ 335863 w 480492"/>
                <a:gd name="connsiteY82" fmla="*/ 238004 h 239438"/>
                <a:gd name="connsiteX83" fmla="*/ 329287 w 480492"/>
                <a:gd name="connsiteY83" fmla="*/ 234130 h 239438"/>
                <a:gd name="connsiteX84" fmla="*/ 325120 w 480492"/>
                <a:gd name="connsiteY84" fmla="*/ 228107 h 239438"/>
                <a:gd name="connsiteX85" fmla="*/ 323655 w 480492"/>
                <a:gd name="connsiteY85" fmla="*/ 220359 h 239438"/>
                <a:gd name="connsiteX86" fmla="*/ 329254 w 480492"/>
                <a:gd name="connsiteY86" fmla="*/ 205937 h 239438"/>
                <a:gd name="connsiteX87" fmla="*/ 346184 w 480492"/>
                <a:gd name="connsiteY87" fmla="*/ 198937 h 239438"/>
                <a:gd name="connsiteX88" fmla="*/ 366434 w 480492"/>
                <a:gd name="connsiteY88" fmla="*/ 196007 h 239438"/>
                <a:gd name="connsiteX89" fmla="*/ 351523 w 480492"/>
                <a:gd name="connsiteY89" fmla="*/ 176799 h 239438"/>
                <a:gd name="connsiteX90" fmla="*/ 329906 w 480492"/>
                <a:gd name="connsiteY90" fmla="*/ 185329 h 239438"/>
                <a:gd name="connsiteX91" fmla="*/ 329906 w 480492"/>
                <a:gd name="connsiteY91" fmla="*/ 176213 h 239438"/>
                <a:gd name="connsiteX92" fmla="*/ 334626 w 480492"/>
                <a:gd name="connsiteY92" fmla="*/ 173511 h 239438"/>
                <a:gd name="connsiteX93" fmla="*/ 340193 w 480492"/>
                <a:gd name="connsiteY93" fmla="*/ 171427 h 239438"/>
                <a:gd name="connsiteX94" fmla="*/ 346216 w 480492"/>
                <a:gd name="connsiteY94" fmla="*/ 170060 h 239438"/>
                <a:gd name="connsiteX95" fmla="*/ 352239 w 480492"/>
                <a:gd name="connsiteY95" fmla="*/ 169571 h 239438"/>
                <a:gd name="connsiteX96" fmla="*/ 197021 w 480492"/>
                <a:gd name="connsiteY96" fmla="*/ 169571 h 239438"/>
                <a:gd name="connsiteX97" fmla="*/ 213689 w 480492"/>
                <a:gd name="connsiteY97" fmla="*/ 176669 h 239438"/>
                <a:gd name="connsiteX98" fmla="*/ 219419 w 480492"/>
                <a:gd name="connsiteY98" fmla="*/ 197179 h 239438"/>
                <a:gd name="connsiteX99" fmla="*/ 219419 w 480492"/>
                <a:gd name="connsiteY99" fmla="*/ 237809 h 239438"/>
                <a:gd name="connsiteX100" fmla="*/ 211085 w 480492"/>
                <a:gd name="connsiteY100" fmla="*/ 237809 h 239438"/>
                <a:gd name="connsiteX101" fmla="*/ 211085 w 480492"/>
                <a:gd name="connsiteY101" fmla="*/ 199393 h 239438"/>
                <a:gd name="connsiteX102" fmla="*/ 194677 w 480492"/>
                <a:gd name="connsiteY102" fmla="*/ 176799 h 239438"/>
                <a:gd name="connsiteX103" fmla="*/ 186603 w 480492"/>
                <a:gd name="connsiteY103" fmla="*/ 178524 h 239438"/>
                <a:gd name="connsiteX104" fmla="*/ 180189 w 480492"/>
                <a:gd name="connsiteY104" fmla="*/ 183310 h 239438"/>
                <a:gd name="connsiteX105" fmla="*/ 175957 w 480492"/>
                <a:gd name="connsiteY105" fmla="*/ 190570 h 239438"/>
                <a:gd name="connsiteX106" fmla="*/ 174427 w 480492"/>
                <a:gd name="connsiteY106" fmla="*/ 199653 h 239438"/>
                <a:gd name="connsiteX107" fmla="*/ 174427 w 480492"/>
                <a:gd name="connsiteY107" fmla="*/ 237809 h 239438"/>
                <a:gd name="connsiteX108" fmla="*/ 166092 w 480492"/>
                <a:gd name="connsiteY108" fmla="*/ 237809 h 239438"/>
                <a:gd name="connsiteX109" fmla="*/ 166092 w 480492"/>
                <a:gd name="connsiteY109" fmla="*/ 171134 h 239438"/>
                <a:gd name="connsiteX110" fmla="*/ 174427 w 480492"/>
                <a:gd name="connsiteY110" fmla="*/ 171134 h 239438"/>
                <a:gd name="connsiteX111" fmla="*/ 174427 w 480492"/>
                <a:gd name="connsiteY111" fmla="*/ 182724 h 239438"/>
                <a:gd name="connsiteX112" fmla="*/ 174687 w 480492"/>
                <a:gd name="connsiteY112" fmla="*/ 182724 h 239438"/>
                <a:gd name="connsiteX113" fmla="*/ 197021 w 480492"/>
                <a:gd name="connsiteY113" fmla="*/ 169571 h 239438"/>
                <a:gd name="connsiteX114" fmla="*/ 118346 w 480492"/>
                <a:gd name="connsiteY114" fmla="*/ 169571 h 239438"/>
                <a:gd name="connsiteX115" fmla="*/ 131369 w 480492"/>
                <a:gd name="connsiteY115" fmla="*/ 171948 h 239438"/>
                <a:gd name="connsiteX116" fmla="*/ 141201 w 480492"/>
                <a:gd name="connsiteY116" fmla="*/ 178817 h 239438"/>
                <a:gd name="connsiteX117" fmla="*/ 147386 w 480492"/>
                <a:gd name="connsiteY117" fmla="*/ 189756 h 239438"/>
                <a:gd name="connsiteX118" fmla="*/ 149535 w 480492"/>
                <a:gd name="connsiteY118" fmla="*/ 204407 h 239438"/>
                <a:gd name="connsiteX119" fmla="*/ 147289 w 480492"/>
                <a:gd name="connsiteY119" fmla="*/ 218634 h 239438"/>
                <a:gd name="connsiteX120" fmla="*/ 140875 w 480492"/>
                <a:gd name="connsiteY120" fmla="*/ 229670 h 239438"/>
                <a:gd name="connsiteX121" fmla="*/ 130718 w 480492"/>
                <a:gd name="connsiteY121" fmla="*/ 236832 h 239438"/>
                <a:gd name="connsiteX122" fmla="*/ 117174 w 480492"/>
                <a:gd name="connsiteY122" fmla="*/ 239372 h 239438"/>
                <a:gd name="connsiteX123" fmla="*/ 103859 w 480492"/>
                <a:gd name="connsiteY123" fmla="*/ 236898 h 239438"/>
                <a:gd name="connsiteX124" fmla="*/ 93799 w 480492"/>
                <a:gd name="connsiteY124" fmla="*/ 229898 h 239438"/>
                <a:gd name="connsiteX125" fmla="*/ 87418 w 480492"/>
                <a:gd name="connsiteY125" fmla="*/ 219057 h 239438"/>
                <a:gd name="connsiteX126" fmla="*/ 85204 w 480492"/>
                <a:gd name="connsiteY126" fmla="*/ 205058 h 239438"/>
                <a:gd name="connsiteX127" fmla="*/ 87548 w 480492"/>
                <a:gd name="connsiteY127" fmla="*/ 190147 h 239438"/>
                <a:gd name="connsiteX128" fmla="*/ 94222 w 480492"/>
                <a:gd name="connsiteY128" fmla="*/ 178980 h 239438"/>
                <a:gd name="connsiteX129" fmla="*/ 104673 w 480492"/>
                <a:gd name="connsiteY129" fmla="*/ 171981 h 239438"/>
                <a:gd name="connsiteX130" fmla="*/ 118346 w 480492"/>
                <a:gd name="connsiteY130" fmla="*/ 169571 h 239438"/>
                <a:gd name="connsiteX131" fmla="*/ 463303 w 480492"/>
                <a:gd name="connsiteY131" fmla="*/ 151600 h 239438"/>
                <a:gd name="connsiteX132" fmla="*/ 463303 w 480492"/>
                <a:gd name="connsiteY132" fmla="*/ 171134 h 239438"/>
                <a:gd name="connsiteX133" fmla="*/ 480492 w 480492"/>
                <a:gd name="connsiteY133" fmla="*/ 171134 h 239438"/>
                <a:gd name="connsiteX134" fmla="*/ 480492 w 480492"/>
                <a:gd name="connsiteY134" fmla="*/ 178427 h 239438"/>
                <a:gd name="connsiteX135" fmla="*/ 463303 w 480492"/>
                <a:gd name="connsiteY135" fmla="*/ 178427 h 239438"/>
                <a:gd name="connsiteX136" fmla="*/ 463303 w 480492"/>
                <a:gd name="connsiteY136" fmla="*/ 219252 h 239438"/>
                <a:gd name="connsiteX137" fmla="*/ 465516 w 480492"/>
                <a:gd name="connsiteY137" fmla="*/ 229019 h 239438"/>
                <a:gd name="connsiteX138" fmla="*/ 473004 w 480492"/>
                <a:gd name="connsiteY138" fmla="*/ 232014 h 239438"/>
                <a:gd name="connsiteX139" fmla="*/ 480492 w 480492"/>
                <a:gd name="connsiteY139" fmla="*/ 229670 h 239438"/>
                <a:gd name="connsiteX140" fmla="*/ 480492 w 480492"/>
                <a:gd name="connsiteY140" fmla="*/ 237028 h 239438"/>
                <a:gd name="connsiteX141" fmla="*/ 471116 w 480492"/>
                <a:gd name="connsiteY141" fmla="*/ 239176 h 239438"/>
                <a:gd name="connsiteX142" fmla="*/ 454968 w 480492"/>
                <a:gd name="connsiteY142" fmla="*/ 220554 h 239438"/>
                <a:gd name="connsiteX143" fmla="*/ 454968 w 480492"/>
                <a:gd name="connsiteY143" fmla="*/ 178427 h 239438"/>
                <a:gd name="connsiteX144" fmla="*/ 443248 w 480492"/>
                <a:gd name="connsiteY144" fmla="*/ 178427 h 239438"/>
                <a:gd name="connsiteX145" fmla="*/ 443248 w 480492"/>
                <a:gd name="connsiteY145" fmla="*/ 171134 h 239438"/>
                <a:gd name="connsiteX146" fmla="*/ 454968 w 480492"/>
                <a:gd name="connsiteY146" fmla="*/ 171134 h 239438"/>
                <a:gd name="connsiteX147" fmla="*/ 454968 w 480492"/>
                <a:gd name="connsiteY147" fmla="*/ 154335 h 239438"/>
                <a:gd name="connsiteX148" fmla="*/ 253752 w 480492"/>
                <a:gd name="connsiteY148" fmla="*/ 151600 h 239438"/>
                <a:gd name="connsiteX149" fmla="*/ 253752 w 480492"/>
                <a:gd name="connsiteY149" fmla="*/ 171134 h 239438"/>
                <a:gd name="connsiteX150" fmla="*/ 270942 w 480492"/>
                <a:gd name="connsiteY150" fmla="*/ 171134 h 239438"/>
                <a:gd name="connsiteX151" fmla="*/ 270942 w 480492"/>
                <a:gd name="connsiteY151" fmla="*/ 178427 h 239438"/>
                <a:gd name="connsiteX152" fmla="*/ 253752 w 480492"/>
                <a:gd name="connsiteY152" fmla="*/ 178427 h 239438"/>
                <a:gd name="connsiteX153" fmla="*/ 253752 w 480492"/>
                <a:gd name="connsiteY153" fmla="*/ 219252 h 239438"/>
                <a:gd name="connsiteX154" fmla="*/ 255966 w 480492"/>
                <a:gd name="connsiteY154" fmla="*/ 229019 h 239438"/>
                <a:gd name="connsiteX155" fmla="*/ 263454 w 480492"/>
                <a:gd name="connsiteY155" fmla="*/ 232014 h 239438"/>
                <a:gd name="connsiteX156" fmla="*/ 270942 w 480492"/>
                <a:gd name="connsiteY156" fmla="*/ 229670 h 239438"/>
                <a:gd name="connsiteX157" fmla="*/ 270942 w 480492"/>
                <a:gd name="connsiteY157" fmla="*/ 237028 h 239438"/>
                <a:gd name="connsiteX158" fmla="*/ 261566 w 480492"/>
                <a:gd name="connsiteY158" fmla="*/ 239176 h 239438"/>
                <a:gd name="connsiteX159" fmla="*/ 245418 w 480492"/>
                <a:gd name="connsiteY159" fmla="*/ 220554 h 239438"/>
                <a:gd name="connsiteX160" fmla="*/ 245418 w 480492"/>
                <a:gd name="connsiteY160" fmla="*/ 178427 h 239438"/>
                <a:gd name="connsiteX161" fmla="*/ 233697 w 480492"/>
                <a:gd name="connsiteY161" fmla="*/ 178427 h 239438"/>
                <a:gd name="connsiteX162" fmla="*/ 233697 w 480492"/>
                <a:gd name="connsiteY162" fmla="*/ 171134 h 239438"/>
                <a:gd name="connsiteX163" fmla="*/ 245418 w 480492"/>
                <a:gd name="connsiteY163" fmla="*/ 171134 h 239438"/>
                <a:gd name="connsiteX164" fmla="*/ 245418 w 480492"/>
                <a:gd name="connsiteY164" fmla="*/ 154335 h 239438"/>
                <a:gd name="connsiteX165" fmla="*/ 47011 w 480492"/>
                <a:gd name="connsiteY165" fmla="*/ 142875 h 239438"/>
                <a:gd name="connsiteX166" fmla="*/ 68303 w 480492"/>
                <a:gd name="connsiteY166" fmla="*/ 146522 h 239438"/>
                <a:gd name="connsiteX167" fmla="*/ 68303 w 480492"/>
                <a:gd name="connsiteY167" fmla="*/ 155768 h 239438"/>
                <a:gd name="connsiteX168" fmla="*/ 46881 w 480492"/>
                <a:gd name="connsiteY168" fmla="*/ 150754 h 239438"/>
                <a:gd name="connsiteX169" fmla="*/ 30798 w 480492"/>
                <a:gd name="connsiteY169" fmla="*/ 153879 h 239438"/>
                <a:gd name="connsiteX170" fmla="*/ 18948 w 480492"/>
                <a:gd name="connsiteY170" fmla="*/ 162572 h 239438"/>
                <a:gd name="connsiteX171" fmla="*/ 11590 w 480492"/>
                <a:gd name="connsiteY171" fmla="*/ 175725 h 239438"/>
                <a:gd name="connsiteX172" fmla="*/ 9051 w 480492"/>
                <a:gd name="connsiteY172" fmla="*/ 192296 h 239438"/>
                <a:gd name="connsiteX173" fmla="*/ 11330 w 480492"/>
                <a:gd name="connsiteY173" fmla="*/ 207499 h 239438"/>
                <a:gd name="connsiteX174" fmla="*/ 18069 w 480492"/>
                <a:gd name="connsiteY174" fmla="*/ 219968 h 239438"/>
                <a:gd name="connsiteX175" fmla="*/ 29170 w 480492"/>
                <a:gd name="connsiteY175" fmla="*/ 228433 h 239438"/>
                <a:gd name="connsiteX176" fmla="*/ 44602 w 480492"/>
                <a:gd name="connsiteY176" fmla="*/ 231558 h 239438"/>
                <a:gd name="connsiteX177" fmla="*/ 68303 w 480492"/>
                <a:gd name="connsiteY177" fmla="*/ 225894 h 239438"/>
                <a:gd name="connsiteX178" fmla="*/ 68303 w 480492"/>
                <a:gd name="connsiteY178" fmla="*/ 234358 h 239438"/>
                <a:gd name="connsiteX179" fmla="*/ 43625 w 480492"/>
                <a:gd name="connsiteY179" fmla="*/ 239437 h 239438"/>
                <a:gd name="connsiteX180" fmla="*/ 25654 w 480492"/>
                <a:gd name="connsiteY180" fmla="*/ 235953 h 239438"/>
                <a:gd name="connsiteX181" fmla="*/ 11883 w 480492"/>
                <a:gd name="connsiteY181" fmla="*/ 226284 h 239438"/>
                <a:gd name="connsiteX182" fmla="*/ 3093 w 480492"/>
                <a:gd name="connsiteY182" fmla="*/ 211569 h 239438"/>
                <a:gd name="connsiteX183" fmla="*/ 0 w 480492"/>
                <a:gd name="connsiteY183" fmla="*/ 192947 h 239438"/>
                <a:gd name="connsiteX184" fmla="*/ 3288 w 480492"/>
                <a:gd name="connsiteY184" fmla="*/ 173185 h 239438"/>
                <a:gd name="connsiteX185" fmla="*/ 12697 w 480492"/>
                <a:gd name="connsiteY185" fmla="*/ 157298 h 239438"/>
                <a:gd name="connsiteX186" fmla="*/ 27510 w 480492"/>
                <a:gd name="connsiteY186" fmla="*/ 146717 h 239438"/>
                <a:gd name="connsiteX187" fmla="*/ 47011 w 480492"/>
                <a:gd name="connsiteY187" fmla="*/ 142875 h 239438"/>
                <a:gd name="connsiteX188" fmla="*/ 299759 w 480492"/>
                <a:gd name="connsiteY188" fmla="*/ 60164 h 239438"/>
                <a:gd name="connsiteX189" fmla="*/ 282569 w 480492"/>
                <a:gd name="connsiteY189" fmla="*/ 62573 h 239438"/>
                <a:gd name="connsiteX190" fmla="*/ 274886 w 480492"/>
                <a:gd name="connsiteY190" fmla="*/ 64201 h 239438"/>
                <a:gd name="connsiteX191" fmla="*/ 269612 w 480492"/>
                <a:gd name="connsiteY191" fmla="*/ 66838 h 239438"/>
                <a:gd name="connsiteX192" fmla="*/ 266551 w 480492"/>
                <a:gd name="connsiteY192" fmla="*/ 70940 h 239438"/>
                <a:gd name="connsiteX193" fmla="*/ 265575 w 480492"/>
                <a:gd name="connsiteY193" fmla="*/ 76963 h 239438"/>
                <a:gd name="connsiteX194" fmla="*/ 266519 w 480492"/>
                <a:gd name="connsiteY194" fmla="*/ 81912 h 239438"/>
                <a:gd name="connsiteX195" fmla="*/ 269253 w 480492"/>
                <a:gd name="connsiteY195" fmla="*/ 85851 h 239438"/>
                <a:gd name="connsiteX196" fmla="*/ 273616 w 480492"/>
                <a:gd name="connsiteY196" fmla="*/ 88423 h 239438"/>
                <a:gd name="connsiteX197" fmla="*/ 279444 w 480492"/>
                <a:gd name="connsiteY197" fmla="*/ 89334 h 239438"/>
                <a:gd name="connsiteX198" fmla="*/ 287583 w 480492"/>
                <a:gd name="connsiteY198" fmla="*/ 87642 h 239438"/>
                <a:gd name="connsiteX199" fmla="*/ 293996 w 480492"/>
                <a:gd name="connsiteY199" fmla="*/ 82953 h 239438"/>
                <a:gd name="connsiteX200" fmla="*/ 298228 w 480492"/>
                <a:gd name="connsiteY200" fmla="*/ 75791 h 239438"/>
                <a:gd name="connsiteX201" fmla="*/ 299759 w 480492"/>
                <a:gd name="connsiteY201" fmla="*/ 66741 h 239438"/>
                <a:gd name="connsiteX202" fmla="*/ 354583 w 480492"/>
                <a:gd name="connsiteY202" fmla="*/ 27022 h 239438"/>
                <a:gd name="connsiteX203" fmla="*/ 358197 w 480492"/>
                <a:gd name="connsiteY203" fmla="*/ 27282 h 239438"/>
                <a:gd name="connsiteX204" fmla="*/ 361094 w 480492"/>
                <a:gd name="connsiteY204" fmla="*/ 28064 h 239438"/>
                <a:gd name="connsiteX205" fmla="*/ 361094 w 480492"/>
                <a:gd name="connsiteY205" fmla="*/ 36789 h 239438"/>
                <a:gd name="connsiteX206" fmla="*/ 353541 w 480492"/>
                <a:gd name="connsiteY206" fmla="*/ 34640 h 239438"/>
                <a:gd name="connsiteX207" fmla="*/ 347681 w 480492"/>
                <a:gd name="connsiteY207" fmla="*/ 35910 h 239438"/>
                <a:gd name="connsiteX208" fmla="*/ 343221 w 480492"/>
                <a:gd name="connsiteY208" fmla="*/ 39328 h 239438"/>
                <a:gd name="connsiteX209" fmla="*/ 339965 w 480492"/>
                <a:gd name="connsiteY209" fmla="*/ 44309 h 239438"/>
                <a:gd name="connsiteX210" fmla="*/ 337817 w 480492"/>
                <a:gd name="connsiteY210" fmla="*/ 50202 h 239438"/>
                <a:gd name="connsiteX211" fmla="*/ 336645 w 480492"/>
                <a:gd name="connsiteY211" fmla="*/ 56388 h 239438"/>
                <a:gd name="connsiteX212" fmla="*/ 336287 w 480492"/>
                <a:gd name="connsiteY212" fmla="*/ 62313 h 239438"/>
                <a:gd name="connsiteX213" fmla="*/ 336287 w 480492"/>
                <a:gd name="connsiteY213" fmla="*/ 94934 h 239438"/>
                <a:gd name="connsiteX214" fmla="*/ 328017 w 480492"/>
                <a:gd name="connsiteY214" fmla="*/ 94934 h 239438"/>
                <a:gd name="connsiteX215" fmla="*/ 328017 w 480492"/>
                <a:gd name="connsiteY215" fmla="*/ 28259 h 239438"/>
                <a:gd name="connsiteX216" fmla="*/ 336287 w 480492"/>
                <a:gd name="connsiteY216" fmla="*/ 28259 h 239438"/>
                <a:gd name="connsiteX217" fmla="*/ 336287 w 480492"/>
                <a:gd name="connsiteY217" fmla="*/ 42519 h 239438"/>
                <a:gd name="connsiteX218" fmla="*/ 336547 w 480492"/>
                <a:gd name="connsiteY218" fmla="*/ 42519 h 239438"/>
                <a:gd name="connsiteX219" fmla="*/ 339510 w 480492"/>
                <a:gd name="connsiteY219" fmla="*/ 35975 h 239438"/>
                <a:gd name="connsiteX220" fmla="*/ 343644 w 480492"/>
                <a:gd name="connsiteY220" fmla="*/ 31092 h 239438"/>
                <a:gd name="connsiteX221" fmla="*/ 348756 w 480492"/>
                <a:gd name="connsiteY221" fmla="*/ 28064 h 239438"/>
                <a:gd name="connsiteX222" fmla="*/ 354583 w 480492"/>
                <a:gd name="connsiteY222" fmla="*/ 27022 h 239438"/>
                <a:gd name="connsiteX223" fmla="*/ 285564 w 480492"/>
                <a:gd name="connsiteY223" fmla="*/ 26696 h 239438"/>
                <a:gd name="connsiteX224" fmla="*/ 302396 w 480492"/>
                <a:gd name="connsiteY224" fmla="*/ 32947 h 239438"/>
                <a:gd name="connsiteX225" fmla="*/ 308093 w 480492"/>
                <a:gd name="connsiteY225" fmla="*/ 51569 h 239438"/>
                <a:gd name="connsiteX226" fmla="*/ 308093 w 480492"/>
                <a:gd name="connsiteY226" fmla="*/ 94934 h 239438"/>
                <a:gd name="connsiteX227" fmla="*/ 299759 w 480492"/>
                <a:gd name="connsiteY227" fmla="*/ 94934 h 239438"/>
                <a:gd name="connsiteX228" fmla="*/ 299759 w 480492"/>
                <a:gd name="connsiteY228" fmla="*/ 83084 h 239438"/>
                <a:gd name="connsiteX229" fmla="*/ 299498 w 480492"/>
                <a:gd name="connsiteY229" fmla="*/ 83084 h 239438"/>
                <a:gd name="connsiteX230" fmla="*/ 290610 w 480492"/>
                <a:gd name="connsiteY230" fmla="*/ 92981 h 239438"/>
                <a:gd name="connsiteX231" fmla="*/ 277881 w 480492"/>
                <a:gd name="connsiteY231" fmla="*/ 96497 h 239438"/>
                <a:gd name="connsiteX232" fmla="*/ 269188 w 480492"/>
                <a:gd name="connsiteY232" fmla="*/ 95129 h 239438"/>
                <a:gd name="connsiteX233" fmla="*/ 262612 w 480492"/>
                <a:gd name="connsiteY233" fmla="*/ 91255 h 239438"/>
                <a:gd name="connsiteX234" fmla="*/ 258445 w 480492"/>
                <a:gd name="connsiteY234" fmla="*/ 85232 h 239438"/>
                <a:gd name="connsiteX235" fmla="*/ 256980 w 480492"/>
                <a:gd name="connsiteY235" fmla="*/ 77484 h 239438"/>
                <a:gd name="connsiteX236" fmla="*/ 262579 w 480492"/>
                <a:gd name="connsiteY236" fmla="*/ 63062 h 239438"/>
                <a:gd name="connsiteX237" fmla="*/ 279509 w 480492"/>
                <a:gd name="connsiteY237" fmla="*/ 56062 h 239438"/>
                <a:gd name="connsiteX238" fmla="*/ 299759 w 480492"/>
                <a:gd name="connsiteY238" fmla="*/ 53132 h 239438"/>
                <a:gd name="connsiteX239" fmla="*/ 284848 w 480492"/>
                <a:gd name="connsiteY239" fmla="*/ 33924 h 239438"/>
                <a:gd name="connsiteX240" fmla="*/ 263231 w 480492"/>
                <a:gd name="connsiteY240" fmla="*/ 42454 h 239438"/>
                <a:gd name="connsiteX241" fmla="*/ 263231 w 480492"/>
                <a:gd name="connsiteY241" fmla="*/ 33338 h 239438"/>
                <a:gd name="connsiteX242" fmla="*/ 267951 w 480492"/>
                <a:gd name="connsiteY242" fmla="*/ 30636 h 239438"/>
                <a:gd name="connsiteX243" fmla="*/ 273518 w 480492"/>
                <a:gd name="connsiteY243" fmla="*/ 28552 h 239438"/>
                <a:gd name="connsiteX244" fmla="*/ 279541 w 480492"/>
                <a:gd name="connsiteY244" fmla="*/ 27185 h 239438"/>
                <a:gd name="connsiteX245" fmla="*/ 285564 w 480492"/>
                <a:gd name="connsiteY245" fmla="*/ 26696 h 239438"/>
                <a:gd name="connsiteX246" fmla="*/ 176148 w 480492"/>
                <a:gd name="connsiteY246" fmla="*/ 26696 h 239438"/>
                <a:gd name="connsiteX247" fmla="*/ 182789 w 480492"/>
                <a:gd name="connsiteY247" fmla="*/ 27771 h 239438"/>
                <a:gd name="connsiteX248" fmla="*/ 188389 w 480492"/>
                <a:gd name="connsiteY248" fmla="*/ 30766 h 239438"/>
                <a:gd name="connsiteX249" fmla="*/ 192653 w 480492"/>
                <a:gd name="connsiteY249" fmla="*/ 35356 h 239438"/>
                <a:gd name="connsiteX250" fmla="*/ 195356 w 480492"/>
                <a:gd name="connsiteY250" fmla="*/ 41216 h 239438"/>
                <a:gd name="connsiteX251" fmla="*/ 204504 w 480492"/>
                <a:gd name="connsiteY251" fmla="*/ 30408 h 239438"/>
                <a:gd name="connsiteX252" fmla="*/ 217233 w 480492"/>
                <a:gd name="connsiteY252" fmla="*/ 26696 h 239438"/>
                <a:gd name="connsiteX253" fmla="*/ 239176 w 480492"/>
                <a:gd name="connsiteY253" fmla="*/ 53783 h 239438"/>
                <a:gd name="connsiteX254" fmla="*/ 239176 w 480492"/>
                <a:gd name="connsiteY254" fmla="*/ 94934 h 239438"/>
                <a:gd name="connsiteX255" fmla="*/ 230842 w 480492"/>
                <a:gd name="connsiteY255" fmla="*/ 94934 h 239438"/>
                <a:gd name="connsiteX256" fmla="*/ 230842 w 480492"/>
                <a:gd name="connsiteY256" fmla="*/ 55737 h 239438"/>
                <a:gd name="connsiteX257" fmla="*/ 229930 w 480492"/>
                <a:gd name="connsiteY257" fmla="*/ 45612 h 239438"/>
                <a:gd name="connsiteX258" fmla="*/ 227098 w 480492"/>
                <a:gd name="connsiteY258" fmla="*/ 38872 h 239438"/>
                <a:gd name="connsiteX259" fmla="*/ 222214 w 480492"/>
                <a:gd name="connsiteY259" fmla="*/ 35096 h 239438"/>
                <a:gd name="connsiteX260" fmla="*/ 215150 w 480492"/>
                <a:gd name="connsiteY260" fmla="*/ 33924 h 239438"/>
                <a:gd name="connsiteX261" fmla="*/ 208248 w 480492"/>
                <a:gd name="connsiteY261" fmla="*/ 35649 h 239438"/>
                <a:gd name="connsiteX262" fmla="*/ 202551 w 480492"/>
                <a:gd name="connsiteY262" fmla="*/ 40403 h 239438"/>
                <a:gd name="connsiteX263" fmla="*/ 198709 w 480492"/>
                <a:gd name="connsiteY263" fmla="*/ 47532 h 239438"/>
                <a:gd name="connsiteX264" fmla="*/ 197309 w 480492"/>
                <a:gd name="connsiteY264" fmla="*/ 56388 h 239438"/>
                <a:gd name="connsiteX265" fmla="*/ 197309 w 480492"/>
                <a:gd name="connsiteY265" fmla="*/ 94934 h 239438"/>
                <a:gd name="connsiteX266" fmla="*/ 188975 w 480492"/>
                <a:gd name="connsiteY266" fmla="*/ 94934 h 239438"/>
                <a:gd name="connsiteX267" fmla="*/ 188975 w 480492"/>
                <a:gd name="connsiteY267" fmla="*/ 54890 h 239438"/>
                <a:gd name="connsiteX268" fmla="*/ 172892 w 480492"/>
                <a:gd name="connsiteY268" fmla="*/ 33924 h 239438"/>
                <a:gd name="connsiteX269" fmla="*/ 165990 w 480492"/>
                <a:gd name="connsiteY269" fmla="*/ 35584 h 239438"/>
                <a:gd name="connsiteX270" fmla="*/ 160423 w 480492"/>
                <a:gd name="connsiteY270" fmla="*/ 40240 h 239438"/>
                <a:gd name="connsiteX271" fmla="*/ 156711 w 480492"/>
                <a:gd name="connsiteY271" fmla="*/ 47435 h 239438"/>
                <a:gd name="connsiteX272" fmla="*/ 155377 w 480492"/>
                <a:gd name="connsiteY272" fmla="*/ 56713 h 239438"/>
                <a:gd name="connsiteX273" fmla="*/ 155377 w 480492"/>
                <a:gd name="connsiteY273" fmla="*/ 94934 h 239438"/>
                <a:gd name="connsiteX274" fmla="*/ 147042 w 480492"/>
                <a:gd name="connsiteY274" fmla="*/ 94934 h 239438"/>
                <a:gd name="connsiteX275" fmla="*/ 147042 w 480492"/>
                <a:gd name="connsiteY275" fmla="*/ 28259 h 239438"/>
                <a:gd name="connsiteX276" fmla="*/ 155377 w 480492"/>
                <a:gd name="connsiteY276" fmla="*/ 28259 h 239438"/>
                <a:gd name="connsiteX277" fmla="*/ 155377 w 480492"/>
                <a:gd name="connsiteY277" fmla="*/ 39068 h 239438"/>
                <a:gd name="connsiteX278" fmla="*/ 155637 w 480492"/>
                <a:gd name="connsiteY278" fmla="*/ 39068 h 239438"/>
                <a:gd name="connsiteX279" fmla="*/ 176148 w 480492"/>
                <a:gd name="connsiteY279" fmla="*/ 26696 h 239438"/>
                <a:gd name="connsiteX280" fmla="*/ 387102 w 480492"/>
                <a:gd name="connsiteY280" fmla="*/ 8725 h 239438"/>
                <a:gd name="connsiteX281" fmla="*/ 387102 w 480492"/>
                <a:gd name="connsiteY281" fmla="*/ 28259 h 239438"/>
                <a:gd name="connsiteX282" fmla="*/ 404292 w 480492"/>
                <a:gd name="connsiteY282" fmla="*/ 28259 h 239438"/>
                <a:gd name="connsiteX283" fmla="*/ 404292 w 480492"/>
                <a:gd name="connsiteY283" fmla="*/ 35552 h 239438"/>
                <a:gd name="connsiteX284" fmla="*/ 387102 w 480492"/>
                <a:gd name="connsiteY284" fmla="*/ 35552 h 239438"/>
                <a:gd name="connsiteX285" fmla="*/ 387102 w 480492"/>
                <a:gd name="connsiteY285" fmla="*/ 76377 h 239438"/>
                <a:gd name="connsiteX286" fmla="*/ 389316 w 480492"/>
                <a:gd name="connsiteY286" fmla="*/ 86144 h 239438"/>
                <a:gd name="connsiteX287" fmla="*/ 396804 w 480492"/>
                <a:gd name="connsiteY287" fmla="*/ 89139 h 239438"/>
                <a:gd name="connsiteX288" fmla="*/ 404292 w 480492"/>
                <a:gd name="connsiteY288" fmla="*/ 86795 h 239438"/>
                <a:gd name="connsiteX289" fmla="*/ 404292 w 480492"/>
                <a:gd name="connsiteY289" fmla="*/ 94153 h 239438"/>
                <a:gd name="connsiteX290" fmla="*/ 394916 w 480492"/>
                <a:gd name="connsiteY290" fmla="*/ 96301 h 239438"/>
                <a:gd name="connsiteX291" fmla="*/ 378768 w 480492"/>
                <a:gd name="connsiteY291" fmla="*/ 77679 h 239438"/>
                <a:gd name="connsiteX292" fmla="*/ 378768 w 480492"/>
                <a:gd name="connsiteY292" fmla="*/ 35552 h 239438"/>
                <a:gd name="connsiteX293" fmla="*/ 367047 w 480492"/>
                <a:gd name="connsiteY293" fmla="*/ 35552 h 239438"/>
                <a:gd name="connsiteX294" fmla="*/ 367047 w 480492"/>
                <a:gd name="connsiteY294" fmla="*/ 28259 h 239438"/>
                <a:gd name="connsiteX295" fmla="*/ 378768 w 480492"/>
                <a:gd name="connsiteY295" fmla="*/ 28259 h 239438"/>
                <a:gd name="connsiteX296" fmla="*/ 378768 w 480492"/>
                <a:gd name="connsiteY296" fmla="*/ 11460 h 239438"/>
                <a:gd name="connsiteX297" fmla="*/ 108691 w 480492"/>
                <a:gd name="connsiteY297" fmla="*/ 0 h 239438"/>
                <a:gd name="connsiteX298" fmla="*/ 127118 w 480492"/>
                <a:gd name="connsiteY298" fmla="*/ 3061 h 239438"/>
                <a:gd name="connsiteX299" fmla="*/ 127118 w 480492"/>
                <a:gd name="connsiteY299" fmla="*/ 12632 h 239438"/>
                <a:gd name="connsiteX300" fmla="*/ 107714 w 480492"/>
                <a:gd name="connsiteY300" fmla="*/ 7879 h 239438"/>
                <a:gd name="connsiteX301" fmla="*/ 99868 w 480492"/>
                <a:gd name="connsiteY301" fmla="*/ 8888 h 239438"/>
                <a:gd name="connsiteX302" fmla="*/ 93422 w 480492"/>
                <a:gd name="connsiteY302" fmla="*/ 11851 h 239438"/>
                <a:gd name="connsiteX303" fmla="*/ 89060 w 480492"/>
                <a:gd name="connsiteY303" fmla="*/ 16702 h 239438"/>
                <a:gd name="connsiteX304" fmla="*/ 87465 w 480492"/>
                <a:gd name="connsiteY304" fmla="*/ 23441 h 239438"/>
                <a:gd name="connsiteX305" fmla="*/ 88539 w 480492"/>
                <a:gd name="connsiteY305" fmla="*/ 29724 h 239438"/>
                <a:gd name="connsiteX306" fmla="*/ 91990 w 480492"/>
                <a:gd name="connsiteY306" fmla="*/ 34705 h 239438"/>
                <a:gd name="connsiteX307" fmla="*/ 98241 w 480492"/>
                <a:gd name="connsiteY307" fmla="*/ 39361 h 239438"/>
                <a:gd name="connsiteX308" fmla="*/ 107714 w 480492"/>
                <a:gd name="connsiteY308" fmla="*/ 44667 h 239438"/>
                <a:gd name="connsiteX309" fmla="*/ 117937 w 480492"/>
                <a:gd name="connsiteY309" fmla="*/ 50755 h 239438"/>
                <a:gd name="connsiteX310" fmla="*/ 125197 w 480492"/>
                <a:gd name="connsiteY310" fmla="*/ 56941 h 239438"/>
                <a:gd name="connsiteX311" fmla="*/ 129527 w 480492"/>
                <a:gd name="connsiteY311" fmla="*/ 63778 h 239438"/>
                <a:gd name="connsiteX312" fmla="*/ 130960 w 480492"/>
                <a:gd name="connsiteY312" fmla="*/ 71819 h 239438"/>
                <a:gd name="connsiteX313" fmla="*/ 128681 w 480492"/>
                <a:gd name="connsiteY313" fmla="*/ 82595 h 239438"/>
                <a:gd name="connsiteX314" fmla="*/ 122300 w 480492"/>
                <a:gd name="connsiteY314" fmla="*/ 90311 h 239438"/>
                <a:gd name="connsiteX315" fmla="*/ 112533 w 480492"/>
                <a:gd name="connsiteY315" fmla="*/ 94934 h 239438"/>
                <a:gd name="connsiteX316" fmla="*/ 100096 w 480492"/>
                <a:gd name="connsiteY316" fmla="*/ 96497 h 239438"/>
                <a:gd name="connsiteX317" fmla="*/ 94822 w 480492"/>
                <a:gd name="connsiteY317" fmla="*/ 96139 h 239438"/>
                <a:gd name="connsiteX318" fmla="*/ 88637 w 480492"/>
                <a:gd name="connsiteY318" fmla="*/ 95097 h 239438"/>
                <a:gd name="connsiteX319" fmla="*/ 82679 w 480492"/>
                <a:gd name="connsiteY319" fmla="*/ 93469 h 239438"/>
                <a:gd name="connsiteX320" fmla="*/ 78088 w 480492"/>
                <a:gd name="connsiteY320" fmla="*/ 91418 h 239438"/>
                <a:gd name="connsiteX321" fmla="*/ 78088 w 480492"/>
                <a:gd name="connsiteY321" fmla="*/ 81261 h 239438"/>
                <a:gd name="connsiteX322" fmla="*/ 83265 w 480492"/>
                <a:gd name="connsiteY322" fmla="*/ 84418 h 239438"/>
                <a:gd name="connsiteX323" fmla="*/ 89060 w 480492"/>
                <a:gd name="connsiteY323" fmla="*/ 86763 h 239438"/>
                <a:gd name="connsiteX324" fmla="*/ 95018 w 480492"/>
                <a:gd name="connsiteY324" fmla="*/ 88195 h 239438"/>
                <a:gd name="connsiteX325" fmla="*/ 100747 w 480492"/>
                <a:gd name="connsiteY325" fmla="*/ 88683 h 239438"/>
                <a:gd name="connsiteX326" fmla="*/ 116635 w 480492"/>
                <a:gd name="connsiteY326" fmla="*/ 84581 h 239438"/>
                <a:gd name="connsiteX327" fmla="*/ 121909 w 480492"/>
                <a:gd name="connsiteY327" fmla="*/ 72796 h 239438"/>
                <a:gd name="connsiteX328" fmla="*/ 120672 w 480492"/>
                <a:gd name="connsiteY328" fmla="*/ 66317 h 239438"/>
                <a:gd name="connsiteX329" fmla="*/ 116830 w 480492"/>
                <a:gd name="connsiteY329" fmla="*/ 61141 h 239438"/>
                <a:gd name="connsiteX330" fmla="*/ 110254 w 480492"/>
                <a:gd name="connsiteY330" fmla="*/ 56355 h 239438"/>
                <a:gd name="connsiteX331" fmla="*/ 100878 w 480492"/>
                <a:gd name="connsiteY331" fmla="*/ 50983 h 239438"/>
                <a:gd name="connsiteX332" fmla="*/ 90622 w 480492"/>
                <a:gd name="connsiteY332" fmla="*/ 44830 h 239438"/>
                <a:gd name="connsiteX333" fmla="*/ 83655 w 480492"/>
                <a:gd name="connsiteY333" fmla="*/ 38905 h 239438"/>
                <a:gd name="connsiteX334" fmla="*/ 79684 w 480492"/>
                <a:gd name="connsiteY334" fmla="*/ 32361 h 239438"/>
                <a:gd name="connsiteX335" fmla="*/ 78414 w 480492"/>
                <a:gd name="connsiteY335" fmla="*/ 24352 h 239438"/>
                <a:gd name="connsiteX336" fmla="*/ 80823 w 480492"/>
                <a:gd name="connsiteY336" fmla="*/ 14195 h 239438"/>
                <a:gd name="connsiteX337" fmla="*/ 87334 w 480492"/>
                <a:gd name="connsiteY337" fmla="*/ 6544 h 239438"/>
                <a:gd name="connsiteX338" fmla="*/ 96938 w 480492"/>
                <a:gd name="connsiteY338" fmla="*/ 1693 h 239438"/>
                <a:gd name="connsiteX339" fmla="*/ 108691 w 480492"/>
                <a:gd name="connsiteY339" fmla="*/ 0 h 23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80492" h="239438">
                  <a:moveTo>
                    <a:pt x="366434" y="203039"/>
                  </a:moveTo>
                  <a:lnTo>
                    <a:pt x="349244" y="205448"/>
                  </a:lnTo>
                  <a:cubicBezTo>
                    <a:pt x="346249" y="205882"/>
                    <a:pt x="343688" y="206425"/>
                    <a:pt x="341561" y="207076"/>
                  </a:cubicBezTo>
                  <a:cubicBezTo>
                    <a:pt x="339434" y="207727"/>
                    <a:pt x="337676" y="208606"/>
                    <a:pt x="336287" y="209713"/>
                  </a:cubicBezTo>
                  <a:cubicBezTo>
                    <a:pt x="334897" y="210820"/>
                    <a:pt x="333877" y="212187"/>
                    <a:pt x="333226" y="213815"/>
                  </a:cubicBezTo>
                  <a:cubicBezTo>
                    <a:pt x="332575" y="215443"/>
                    <a:pt x="332250" y="217451"/>
                    <a:pt x="332250" y="219838"/>
                  </a:cubicBezTo>
                  <a:cubicBezTo>
                    <a:pt x="332250" y="221618"/>
                    <a:pt x="332564" y="223267"/>
                    <a:pt x="333194" y="224787"/>
                  </a:cubicBezTo>
                  <a:cubicBezTo>
                    <a:pt x="333823" y="226306"/>
                    <a:pt x="334735" y="227619"/>
                    <a:pt x="335928" y="228726"/>
                  </a:cubicBezTo>
                  <a:cubicBezTo>
                    <a:pt x="337122" y="229833"/>
                    <a:pt x="338576" y="230690"/>
                    <a:pt x="340291" y="231298"/>
                  </a:cubicBezTo>
                  <a:cubicBezTo>
                    <a:pt x="342006" y="231906"/>
                    <a:pt x="343948" y="232209"/>
                    <a:pt x="346119" y="232209"/>
                  </a:cubicBezTo>
                  <a:cubicBezTo>
                    <a:pt x="349070" y="232209"/>
                    <a:pt x="351783" y="231645"/>
                    <a:pt x="354258" y="230517"/>
                  </a:cubicBezTo>
                  <a:cubicBezTo>
                    <a:pt x="356732" y="229388"/>
                    <a:pt x="358870" y="227825"/>
                    <a:pt x="360671" y="225828"/>
                  </a:cubicBezTo>
                  <a:cubicBezTo>
                    <a:pt x="362473" y="223832"/>
                    <a:pt x="363883" y="221444"/>
                    <a:pt x="364903" y="218666"/>
                  </a:cubicBezTo>
                  <a:cubicBezTo>
                    <a:pt x="365924" y="215888"/>
                    <a:pt x="366434" y="212871"/>
                    <a:pt x="366434" y="209616"/>
                  </a:cubicBezTo>
                  <a:close/>
                  <a:moveTo>
                    <a:pt x="117825" y="176799"/>
                  </a:moveTo>
                  <a:cubicBezTo>
                    <a:pt x="114179" y="176799"/>
                    <a:pt x="110880" y="177428"/>
                    <a:pt x="107928" y="178687"/>
                  </a:cubicBezTo>
                  <a:cubicBezTo>
                    <a:pt x="104977" y="179946"/>
                    <a:pt x="102448" y="181780"/>
                    <a:pt x="100343" y="184189"/>
                  </a:cubicBezTo>
                  <a:cubicBezTo>
                    <a:pt x="98238" y="186598"/>
                    <a:pt x="96621" y="189550"/>
                    <a:pt x="95492" y="193044"/>
                  </a:cubicBezTo>
                  <a:cubicBezTo>
                    <a:pt x="94363" y="196539"/>
                    <a:pt x="93799" y="200500"/>
                    <a:pt x="93799" y="204927"/>
                  </a:cubicBezTo>
                  <a:cubicBezTo>
                    <a:pt x="93799" y="209095"/>
                    <a:pt x="94363" y="212849"/>
                    <a:pt x="95492" y="216192"/>
                  </a:cubicBezTo>
                  <a:cubicBezTo>
                    <a:pt x="96621" y="219534"/>
                    <a:pt x="98216" y="222399"/>
                    <a:pt x="100278" y="224787"/>
                  </a:cubicBezTo>
                  <a:cubicBezTo>
                    <a:pt x="102340" y="227174"/>
                    <a:pt x="104846" y="229008"/>
                    <a:pt x="107798" y="230289"/>
                  </a:cubicBezTo>
                  <a:cubicBezTo>
                    <a:pt x="110750" y="231569"/>
                    <a:pt x="114049" y="232209"/>
                    <a:pt x="117695" y="232209"/>
                  </a:cubicBezTo>
                  <a:cubicBezTo>
                    <a:pt x="121428" y="232209"/>
                    <a:pt x="124727" y="231591"/>
                    <a:pt x="127592" y="230354"/>
                  </a:cubicBezTo>
                  <a:cubicBezTo>
                    <a:pt x="130457" y="229117"/>
                    <a:pt x="132888" y="227315"/>
                    <a:pt x="134885" y="224949"/>
                  </a:cubicBezTo>
                  <a:cubicBezTo>
                    <a:pt x="136882" y="222584"/>
                    <a:pt x="138390" y="219686"/>
                    <a:pt x="139410" y="216257"/>
                  </a:cubicBezTo>
                  <a:cubicBezTo>
                    <a:pt x="140430" y="212828"/>
                    <a:pt x="140940" y="208921"/>
                    <a:pt x="140940" y="204537"/>
                  </a:cubicBezTo>
                  <a:cubicBezTo>
                    <a:pt x="140940" y="195551"/>
                    <a:pt x="138944" y="188682"/>
                    <a:pt x="134950" y="183929"/>
                  </a:cubicBezTo>
                  <a:cubicBezTo>
                    <a:pt x="130956" y="179176"/>
                    <a:pt x="125248" y="176799"/>
                    <a:pt x="117825" y="176799"/>
                  </a:cubicBezTo>
                  <a:close/>
                  <a:moveTo>
                    <a:pt x="306958" y="169897"/>
                  </a:moveTo>
                  <a:cubicBezTo>
                    <a:pt x="308304" y="169897"/>
                    <a:pt x="309508" y="169984"/>
                    <a:pt x="310572" y="170157"/>
                  </a:cubicBezTo>
                  <a:cubicBezTo>
                    <a:pt x="311635" y="170331"/>
                    <a:pt x="312601" y="170592"/>
                    <a:pt x="313469" y="170939"/>
                  </a:cubicBezTo>
                  <a:lnTo>
                    <a:pt x="313469" y="179664"/>
                  </a:lnTo>
                  <a:cubicBezTo>
                    <a:pt x="311516" y="178231"/>
                    <a:pt x="308998" y="177515"/>
                    <a:pt x="305916" y="177515"/>
                  </a:cubicBezTo>
                  <a:cubicBezTo>
                    <a:pt x="303703" y="177515"/>
                    <a:pt x="301749" y="177938"/>
                    <a:pt x="300056" y="178785"/>
                  </a:cubicBezTo>
                  <a:cubicBezTo>
                    <a:pt x="298363" y="179631"/>
                    <a:pt x="296877" y="180771"/>
                    <a:pt x="295596" y="182203"/>
                  </a:cubicBezTo>
                  <a:cubicBezTo>
                    <a:pt x="294315" y="183636"/>
                    <a:pt x="293230" y="185296"/>
                    <a:pt x="292340" y="187184"/>
                  </a:cubicBezTo>
                  <a:cubicBezTo>
                    <a:pt x="291451" y="189073"/>
                    <a:pt x="290734" y="191037"/>
                    <a:pt x="290192" y="193077"/>
                  </a:cubicBezTo>
                  <a:cubicBezTo>
                    <a:pt x="289649" y="195117"/>
                    <a:pt x="289258" y="197179"/>
                    <a:pt x="289020" y="199263"/>
                  </a:cubicBezTo>
                  <a:cubicBezTo>
                    <a:pt x="288781" y="201346"/>
                    <a:pt x="288662" y="203321"/>
                    <a:pt x="288662" y="205188"/>
                  </a:cubicBezTo>
                  <a:lnTo>
                    <a:pt x="288662" y="237809"/>
                  </a:lnTo>
                  <a:lnTo>
                    <a:pt x="280392" y="237809"/>
                  </a:lnTo>
                  <a:lnTo>
                    <a:pt x="280392" y="171134"/>
                  </a:lnTo>
                  <a:lnTo>
                    <a:pt x="288662" y="171134"/>
                  </a:lnTo>
                  <a:lnTo>
                    <a:pt x="288662" y="185394"/>
                  </a:lnTo>
                  <a:lnTo>
                    <a:pt x="288922" y="185394"/>
                  </a:lnTo>
                  <a:cubicBezTo>
                    <a:pt x="289703" y="182963"/>
                    <a:pt x="290691" y="180782"/>
                    <a:pt x="291885" y="178850"/>
                  </a:cubicBezTo>
                  <a:cubicBezTo>
                    <a:pt x="293078" y="176918"/>
                    <a:pt x="294457" y="175290"/>
                    <a:pt x="296019" y="173967"/>
                  </a:cubicBezTo>
                  <a:cubicBezTo>
                    <a:pt x="297582" y="172643"/>
                    <a:pt x="299286" y="171633"/>
                    <a:pt x="301131" y="170939"/>
                  </a:cubicBezTo>
                  <a:cubicBezTo>
                    <a:pt x="302975" y="170244"/>
                    <a:pt x="304918" y="169897"/>
                    <a:pt x="306958" y="169897"/>
                  </a:cubicBezTo>
                  <a:close/>
                  <a:moveTo>
                    <a:pt x="424123" y="169571"/>
                  </a:moveTo>
                  <a:cubicBezTo>
                    <a:pt x="429636" y="169571"/>
                    <a:pt x="434671" y="170635"/>
                    <a:pt x="439229" y="172762"/>
                  </a:cubicBezTo>
                  <a:lnTo>
                    <a:pt x="439229" y="181617"/>
                  </a:lnTo>
                  <a:cubicBezTo>
                    <a:pt x="434367" y="178405"/>
                    <a:pt x="429115" y="176799"/>
                    <a:pt x="423472" y="176799"/>
                  </a:cubicBezTo>
                  <a:cubicBezTo>
                    <a:pt x="419522" y="176799"/>
                    <a:pt x="416006" y="177548"/>
                    <a:pt x="412924" y="179045"/>
                  </a:cubicBezTo>
                  <a:cubicBezTo>
                    <a:pt x="409842" y="180543"/>
                    <a:pt x="407248" y="182583"/>
                    <a:pt x="405143" y="185166"/>
                  </a:cubicBezTo>
                  <a:cubicBezTo>
                    <a:pt x="403038" y="187749"/>
                    <a:pt x="401431" y="190765"/>
                    <a:pt x="400325" y="194216"/>
                  </a:cubicBezTo>
                  <a:cubicBezTo>
                    <a:pt x="399218" y="197667"/>
                    <a:pt x="398664" y="201325"/>
                    <a:pt x="398664" y="205188"/>
                  </a:cubicBezTo>
                  <a:cubicBezTo>
                    <a:pt x="398664" y="208747"/>
                    <a:pt x="399131" y="212155"/>
                    <a:pt x="400064" y="215411"/>
                  </a:cubicBezTo>
                  <a:cubicBezTo>
                    <a:pt x="400997" y="218666"/>
                    <a:pt x="402430" y="221542"/>
                    <a:pt x="404361" y="224038"/>
                  </a:cubicBezTo>
                  <a:cubicBezTo>
                    <a:pt x="406293" y="226534"/>
                    <a:pt x="408735" y="228520"/>
                    <a:pt x="411687" y="229996"/>
                  </a:cubicBezTo>
                  <a:cubicBezTo>
                    <a:pt x="414638" y="231472"/>
                    <a:pt x="418111" y="232209"/>
                    <a:pt x="422105" y="232209"/>
                  </a:cubicBezTo>
                  <a:cubicBezTo>
                    <a:pt x="428355" y="232209"/>
                    <a:pt x="433998" y="230343"/>
                    <a:pt x="439034" y="226610"/>
                  </a:cubicBezTo>
                  <a:lnTo>
                    <a:pt x="439034" y="234814"/>
                  </a:lnTo>
                  <a:cubicBezTo>
                    <a:pt x="434085" y="237809"/>
                    <a:pt x="428095" y="239350"/>
                    <a:pt x="421063" y="239437"/>
                  </a:cubicBezTo>
                  <a:cubicBezTo>
                    <a:pt x="416288" y="239480"/>
                    <a:pt x="411990" y="238656"/>
                    <a:pt x="408171" y="236963"/>
                  </a:cubicBezTo>
                  <a:cubicBezTo>
                    <a:pt x="404351" y="235270"/>
                    <a:pt x="401095" y="232915"/>
                    <a:pt x="398404" y="229898"/>
                  </a:cubicBezTo>
                  <a:cubicBezTo>
                    <a:pt x="395712" y="226881"/>
                    <a:pt x="393651" y="223322"/>
                    <a:pt x="392218" y="219220"/>
                  </a:cubicBezTo>
                  <a:cubicBezTo>
                    <a:pt x="390786" y="215117"/>
                    <a:pt x="390069" y="210657"/>
                    <a:pt x="390069" y="205839"/>
                  </a:cubicBezTo>
                  <a:cubicBezTo>
                    <a:pt x="390069" y="200847"/>
                    <a:pt x="390829" y="196148"/>
                    <a:pt x="392348" y="191742"/>
                  </a:cubicBezTo>
                  <a:cubicBezTo>
                    <a:pt x="393868" y="187336"/>
                    <a:pt x="396081" y="183495"/>
                    <a:pt x="398990" y="180217"/>
                  </a:cubicBezTo>
                  <a:cubicBezTo>
                    <a:pt x="401898" y="176940"/>
                    <a:pt x="405458" y="174346"/>
                    <a:pt x="409668" y="172436"/>
                  </a:cubicBezTo>
                  <a:cubicBezTo>
                    <a:pt x="413879" y="170526"/>
                    <a:pt x="418697" y="169571"/>
                    <a:pt x="424123" y="169571"/>
                  </a:cubicBezTo>
                  <a:close/>
                  <a:moveTo>
                    <a:pt x="352239" y="169571"/>
                  </a:moveTo>
                  <a:cubicBezTo>
                    <a:pt x="359662" y="169571"/>
                    <a:pt x="365272" y="171655"/>
                    <a:pt x="369071" y="175822"/>
                  </a:cubicBezTo>
                  <a:cubicBezTo>
                    <a:pt x="372869" y="179989"/>
                    <a:pt x="374768" y="186197"/>
                    <a:pt x="374768" y="194444"/>
                  </a:cubicBezTo>
                  <a:lnTo>
                    <a:pt x="374768" y="237809"/>
                  </a:lnTo>
                  <a:lnTo>
                    <a:pt x="366434" y="237809"/>
                  </a:lnTo>
                  <a:lnTo>
                    <a:pt x="366434" y="225959"/>
                  </a:lnTo>
                  <a:lnTo>
                    <a:pt x="366173" y="225959"/>
                  </a:lnTo>
                  <a:cubicBezTo>
                    <a:pt x="364003" y="230213"/>
                    <a:pt x="361040" y="233512"/>
                    <a:pt x="357285" y="235856"/>
                  </a:cubicBezTo>
                  <a:cubicBezTo>
                    <a:pt x="353530" y="238200"/>
                    <a:pt x="349287" y="239372"/>
                    <a:pt x="344556" y="239372"/>
                  </a:cubicBezTo>
                  <a:cubicBezTo>
                    <a:pt x="341344" y="239372"/>
                    <a:pt x="338446" y="238916"/>
                    <a:pt x="335863" y="238004"/>
                  </a:cubicBezTo>
                  <a:cubicBezTo>
                    <a:pt x="333281" y="237093"/>
                    <a:pt x="331088" y="235801"/>
                    <a:pt x="329287" y="234130"/>
                  </a:cubicBezTo>
                  <a:cubicBezTo>
                    <a:pt x="327486" y="232459"/>
                    <a:pt x="326097" y="230451"/>
                    <a:pt x="325120" y="228107"/>
                  </a:cubicBezTo>
                  <a:cubicBezTo>
                    <a:pt x="324143" y="225763"/>
                    <a:pt x="323655" y="223181"/>
                    <a:pt x="323655" y="220359"/>
                  </a:cubicBezTo>
                  <a:cubicBezTo>
                    <a:pt x="323655" y="214325"/>
                    <a:pt x="325521" y="209518"/>
                    <a:pt x="329254" y="205937"/>
                  </a:cubicBezTo>
                  <a:cubicBezTo>
                    <a:pt x="332988" y="202355"/>
                    <a:pt x="338631" y="200022"/>
                    <a:pt x="346184" y="198937"/>
                  </a:cubicBezTo>
                  <a:lnTo>
                    <a:pt x="366434" y="196007"/>
                  </a:lnTo>
                  <a:cubicBezTo>
                    <a:pt x="366434" y="183202"/>
                    <a:pt x="361463" y="176799"/>
                    <a:pt x="351523" y="176799"/>
                  </a:cubicBezTo>
                  <a:cubicBezTo>
                    <a:pt x="343753" y="176799"/>
                    <a:pt x="336547" y="179642"/>
                    <a:pt x="329906" y="185329"/>
                  </a:cubicBezTo>
                  <a:lnTo>
                    <a:pt x="329906" y="176213"/>
                  </a:lnTo>
                  <a:cubicBezTo>
                    <a:pt x="331295" y="175215"/>
                    <a:pt x="332868" y="174314"/>
                    <a:pt x="334626" y="173511"/>
                  </a:cubicBezTo>
                  <a:cubicBezTo>
                    <a:pt x="336384" y="172708"/>
                    <a:pt x="338240" y="172013"/>
                    <a:pt x="340193" y="171427"/>
                  </a:cubicBezTo>
                  <a:cubicBezTo>
                    <a:pt x="342147" y="170841"/>
                    <a:pt x="344154" y="170385"/>
                    <a:pt x="346216" y="170060"/>
                  </a:cubicBezTo>
                  <a:cubicBezTo>
                    <a:pt x="348278" y="169734"/>
                    <a:pt x="350286" y="169571"/>
                    <a:pt x="352239" y="169571"/>
                  </a:cubicBezTo>
                  <a:close/>
                  <a:moveTo>
                    <a:pt x="197021" y="169571"/>
                  </a:moveTo>
                  <a:cubicBezTo>
                    <a:pt x="204313" y="169571"/>
                    <a:pt x="209869" y="171937"/>
                    <a:pt x="213689" y="176669"/>
                  </a:cubicBezTo>
                  <a:cubicBezTo>
                    <a:pt x="217509" y="181400"/>
                    <a:pt x="219419" y="188237"/>
                    <a:pt x="219419" y="197179"/>
                  </a:cubicBezTo>
                  <a:lnTo>
                    <a:pt x="219419" y="237809"/>
                  </a:lnTo>
                  <a:lnTo>
                    <a:pt x="211085" y="237809"/>
                  </a:lnTo>
                  <a:lnTo>
                    <a:pt x="211085" y="199393"/>
                  </a:lnTo>
                  <a:cubicBezTo>
                    <a:pt x="211085" y="184330"/>
                    <a:pt x="205615" y="176799"/>
                    <a:pt x="194677" y="176799"/>
                  </a:cubicBezTo>
                  <a:cubicBezTo>
                    <a:pt x="191768" y="176799"/>
                    <a:pt x="189077" y="177374"/>
                    <a:pt x="186603" y="178524"/>
                  </a:cubicBezTo>
                  <a:cubicBezTo>
                    <a:pt x="184128" y="179675"/>
                    <a:pt x="181991" y="181270"/>
                    <a:pt x="180189" y="183310"/>
                  </a:cubicBezTo>
                  <a:cubicBezTo>
                    <a:pt x="178388" y="185350"/>
                    <a:pt x="176977" y="187770"/>
                    <a:pt x="175957" y="190570"/>
                  </a:cubicBezTo>
                  <a:cubicBezTo>
                    <a:pt x="174937" y="193370"/>
                    <a:pt x="174427" y="196398"/>
                    <a:pt x="174427" y="199653"/>
                  </a:cubicBezTo>
                  <a:lnTo>
                    <a:pt x="174427" y="237809"/>
                  </a:lnTo>
                  <a:lnTo>
                    <a:pt x="166092" y="237809"/>
                  </a:lnTo>
                  <a:lnTo>
                    <a:pt x="166092" y="171134"/>
                  </a:lnTo>
                  <a:lnTo>
                    <a:pt x="174427" y="171134"/>
                  </a:lnTo>
                  <a:lnTo>
                    <a:pt x="174427" y="182724"/>
                  </a:lnTo>
                  <a:lnTo>
                    <a:pt x="174687" y="182724"/>
                  </a:lnTo>
                  <a:cubicBezTo>
                    <a:pt x="179636" y="173956"/>
                    <a:pt x="187080" y="169571"/>
                    <a:pt x="197021" y="169571"/>
                  </a:cubicBezTo>
                  <a:close/>
                  <a:moveTo>
                    <a:pt x="118346" y="169571"/>
                  </a:moveTo>
                  <a:cubicBezTo>
                    <a:pt x="123165" y="169571"/>
                    <a:pt x="127505" y="170364"/>
                    <a:pt x="131369" y="171948"/>
                  </a:cubicBezTo>
                  <a:cubicBezTo>
                    <a:pt x="135232" y="173532"/>
                    <a:pt x="138509" y="175822"/>
                    <a:pt x="141201" y="178817"/>
                  </a:cubicBezTo>
                  <a:cubicBezTo>
                    <a:pt x="143892" y="181813"/>
                    <a:pt x="145954" y="185459"/>
                    <a:pt x="147386" y="189756"/>
                  </a:cubicBezTo>
                  <a:cubicBezTo>
                    <a:pt x="148819" y="194054"/>
                    <a:pt x="149535" y="198937"/>
                    <a:pt x="149535" y="204407"/>
                  </a:cubicBezTo>
                  <a:cubicBezTo>
                    <a:pt x="149535" y="209616"/>
                    <a:pt x="148786" y="214358"/>
                    <a:pt x="147289" y="218634"/>
                  </a:cubicBezTo>
                  <a:cubicBezTo>
                    <a:pt x="145791" y="222909"/>
                    <a:pt x="143653" y="226588"/>
                    <a:pt x="140875" y="229670"/>
                  </a:cubicBezTo>
                  <a:cubicBezTo>
                    <a:pt x="138097" y="232752"/>
                    <a:pt x="134711" y="235140"/>
                    <a:pt x="130718" y="236832"/>
                  </a:cubicBezTo>
                  <a:cubicBezTo>
                    <a:pt x="126724" y="238525"/>
                    <a:pt x="122210" y="239372"/>
                    <a:pt x="117174" y="239372"/>
                  </a:cubicBezTo>
                  <a:cubicBezTo>
                    <a:pt x="112226" y="239372"/>
                    <a:pt x="107787" y="238547"/>
                    <a:pt x="103859" y="236898"/>
                  </a:cubicBezTo>
                  <a:cubicBezTo>
                    <a:pt x="99930" y="235248"/>
                    <a:pt x="96577" y="232915"/>
                    <a:pt x="93799" y="229898"/>
                  </a:cubicBezTo>
                  <a:cubicBezTo>
                    <a:pt x="91021" y="226881"/>
                    <a:pt x="88894" y="223267"/>
                    <a:pt x="87418" y="219057"/>
                  </a:cubicBezTo>
                  <a:cubicBezTo>
                    <a:pt x="85942" y="214846"/>
                    <a:pt x="85204" y="210180"/>
                    <a:pt x="85204" y="205058"/>
                  </a:cubicBezTo>
                  <a:cubicBezTo>
                    <a:pt x="85204" y="199501"/>
                    <a:pt x="85986" y="194531"/>
                    <a:pt x="87548" y="190147"/>
                  </a:cubicBezTo>
                  <a:cubicBezTo>
                    <a:pt x="89111" y="185763"/>
                    <a:pt x="91336" y="182040"/>
                    <a:pt x="94222" y="178980"/>
                  </a:cubicBezTo>
                  <a:cubicBezTo>
                    <a:pt x="97109" y="175920"/>
                    <a:pt x="100592" y="173587"/>
                    <a:pt x="104673" y="171981"/>
                  </a:cubicBezTo>
                  <a:cubicBezTo>
                    <a:pt x="108753" y="170374"/>
                    <a:pt x="113311" y="169571"/>
                    <a:pt x="118346" y="169571"/>
                  </a:cubicBezTo>
                  <a:close/>
                  <a:moveTo>
                    <a:pt x="463303" y="151600"/>
                  </a:moveTo>
                  <a:lnTo>
                    <a:pt x="463303" y="171134"/>
                  </a:lnTo>
                  <a:lnTo>
                    <a:pt x="480492" y="171134"/>
                  </a:lnTo>
                  <a:lnTo>
                    <a:pt x="480492" y="178427"/>
                  </a:lnTo>
                  <a:lnTo>
                    <a:pt x="463303" y="178427"/>
                  </a:lnTo>
                  <a:lnTo>
                    <a:pt x="463303" y="219252"/>
                  </a:lnTo>
                  <a:cubicBezTo>
                    <a:pt x="463303" y="223767"/>
                    <a:pt x="464040" y="227022"/>
                    <a:pt x="465516" y="229019"/>
                  </a:cubicBezTo>
                  <a:cubicBezTo>
                    <a:pt x="466992" y="231016"/>
                    <a:pt x="469488" y="232014"/>
                    <a:pt x="473004" y="232014"/>
                  </a:cubicBezTo>
                  <a:cubicBezTo>
                    <a:pt x="475609" y="232014"/>
                    <a:pt x="478105" y="231233"/>
                    <a:pt x="480492" y="229670"/>
                  </a:cubicBezTo>
                  <a:lnTo>
                    <a:pt x="480492" y="237028"/>
                  </a:lnTo>
                  <a:cubicBezTo>
                    <a:pt x="477627" y="238460"/>
                    <a:pt x="474502" y="239176"/>
                    <a:pt x="471116" y="239176"/>
                  </a:cubicBezTo>
                  <a:cubicBezTo>
                    <a:pt x="460351" y="239176"/>
                    <a:pt x="454968" y="232969"/>
                    <a:pt x="454968" y="220554"/>
                  </a:cubicBezTo>
                  <a:lnTo>
                    <a:pt x="454968" y="178427"/>
                  </a:lnTo>
                  <a:lnTo>
                    <a:pt x="443248" y="178427"/>
                  </a:lnTo>
                  <a:lnTo>
                    <a:pt x="443248" y="171134"/>
                  </a:lnTo>
                  <a:lnTo>
                    <a:pt x="454968" y="171134"/>
                  </a:lnTo>
                  <a:lnTo>
                    <a:pt x="454968" y="154335"/>
                  </a:lnTo>
                  <a:close/>
                  <a:moveTo>
                    <a:pt x="253752" y="151600"/>
                  </a:moveTo>
                  <a:lnTo>
                    <a:pt x="253752" y="171134"/>
                  </a:lnTo>
                  <a:lnTo>
                    <a:pt x="270942" y="171134"/>
                  </a:lnTo>
                  <a:lnTo>
                    <a:pt x="270942" y="178427"/>
                  </a:lnTo>
                  <a:lnTo>
                    <a:pt x="253752" y="178427"/>
                  </a:lnTo>
                  <a:lnTo>
                    <a:pt x="253752" y="219252"/>
                  </a:lnTo>
                  <a:cubicBezTo>
                    <a:pt x="253752" y="223767"/>
                    <a:pt x="254490" y="227022"/>
                    <a:pt x="255966" y="229019"/>
                  </a:cubicBezTo>
                  <a:cubicBezTo>
                    <a:pt x="257442" y="231016"/>
                    <a:pt x="259938" y="232014"/>
                    <a:pt x="263454" y="232014"/>
                  </a:cubicBezTo>
                  <a:cubicBezTo>
                    <a:pt x="266058" y="232014"/>
                    <a:pt x="268554" y="231233"/>
                    <a:pt x="270942" y="229670"/>
                  </a:cubicBezTo>
                  <a:lnTo>
                    <a:pt x="270942" y="237028"/>
                  </a:lnTo>
                  <a:cubicBezTo>
                    <a:pt x="268077" y="238460"/>
                    <a:pt x="264951" y="239176"/>
                    <a:pt x="261566" y="239176"/>
                  </a:cubicBezTo>
                  <a:cubicBezTo>
                    <a:pt x="250800" y="239176"/>
                    <a:pt x="245418" y="232969"/>
                    <a:pt x="245418" y="220554"/>
                  </a:cubicBezTo>
                  <a:lnTo>
                    <a:pt x="245418" y="178427"/>
                  </a:lnTo>
                  <a:lnTo>
                    <a:pt x="233697" y="178427"/>
                  </a:lnTo>
                  <a:lnTo>
                    <a:pt x="233697" y="171134"/>
                  </a:lnTo>
                  <a:lnTo>
                    <a:pt x="245418" y="171134"/>
                  </a:lnTo>
                  <a:lnTo>
                    <a:pt x="245418" y="154335"/>
                  </a:lnTo>
                  <a:close/>
                  <a:moveTo>
                    <a:pt x="47011" y="142875"/>
                  </a:moveTo>
                  <a:cubicBezTo>
                    <a:pt x="54955" y="142875"/>
                    <a:pt x="62052" y="144091"/>
                    <a:pt x="68303" y="146522"/>
                  </a:cubicBezTo>
                  <a:lnTo>
                    <a:pt x="68303" y="155768"/>
                  </a:lnTo>
                  <a:cubicBezTo>
                    <a:pt x="61618" y="152425"/>
                    <a:pt x="54477" y="150754"/>
                    <a:pt x="46881" y="150754"/>
                  </a:cubicBezTo>
                  <a:cubicBezTo>
                    <a:pt x="40847" y="150754"/>
                    <a:pt x="35486" y="151796"/>
                    <a:pt x="30798" y="153879"/>
                  </a:cubicBezTo>
                  <a:cubicBezTo>
                    <a:pt x="26110" y="155963"/>
                    <a:pt x="22160" y="158860"/>
                    <a:pt x="18948" y="162572"/>
                  </a:cubicBezTo>
                  <a:cubicBezTo>
                    <a:pt x="15736" y="166283"/>
                    <a:pt x="13283" y="170668"/>
                    <a:pt x="11590" y="175725"/>
                  </a:cubicBezTo>
                  <a:cubicBezTo>
                    <a:pt x="9897" y="180782"/>
                    <a:pt x="9051" y="186305"/>
                    <a:pt x="9051" y="192296"/>
                  </a:cubicBezTo>
                  <a:cubicBezTo>
                    <a:pt x="9051" y="197678"/>
                    <a:pt x="9810" y="202746"/>
                    <a:pt x="11330" y="207499"/>
                  </a:cubicBezTo>
                  <a:cubicBezTo>
                    <a:pt x="12849" y="212253"/>
                    <a:pt x="15095" y="216409"/>
                    <a:pt x="18069" y="219968"/>
                  </a:cubicBezTo>
                  <a:cubicBezTo>
                    <a:pt x="21042" y="223528"/>
                    <a:pt x="24743" y="226349"/>
                    <a:pt x="29170" y="228433"/>
                  </a:cubicBezTo>
                  <a:cubicBezTo>
                    <a:pt x="33598" y="230517"/>
                    <a:pt x="38742" y="231558"/>
                    <a:pt x="44602" y="231558"/>
                  </a:cubicBezTo>
                  <a:cubicBezTo>
                    <a:pt x="53588" y="231558"/>
                    <a:pt x="61488" y="229670"/>
                    <a:pt x="68303" y="225894"/>
                  </a:cubicBezTo>
                  <a:lnTo>
                    <a:pt x="68303" y="234358"/>
                  </a:lnTo>
                  <a:cubicBezTo>
                    <a:pt x="61097" y="237744"/>
                    <a:pt x="52871" y="239437"/>
                    <a:pt x="43625" y="239437"/>
                  </a:cubicBezTo>
                  <a:cubicBezTo>
                    <a:pt x="37027" y="239437"/>
                    <a:pt x="31037" y="238276"/>
                    <a:pt x="25654" y="235953"/>
                  </a:cubicBezTo>
                  <a:cubicBezTo>
                    <a:pt x="20272" y="233631"/>
                    <a:pt x="15681" y="230408"/>
                    <a:pt x="11883" y="226284"/>
                  </a:cubicBezTo>
                  <a:cubicBezTo>
                    <a:pt x="8085" y="222160"/>
                    <a:pt x="5155" y="217255"/>
                    <a:pt x="3093" y="211569"/>
                  </a:cubicBezTo>
                  <a:cubicBezTo>
                    <a:pt x="1031" y="205882"/>
                    <a:pt x="0" y="199675"/>
                    <a:pt x="0" y="192947"/>
                  </a:cubicBezTo>
                  <a:cubicBezTo>
                    <a:pt x="0" y="185871"/>
                    <a:pt x="1096" y="179284"/>
                    <a:pt x="3288" y="173185"/>
                  </a:cubicBezTo>
                  <a:cubicBezTo>
                    <a:pt x="5480" y="167086"/>
                    <a:pt x="8617" y="161791"/>
                    <a:pt x="12697" y="157298"/>
                  </a:cubicBezTo>
                  <a:cubicBezTo>
                    <a:pt x="16777" y="152805"/>
                    <a:pt x="21715" y="149278"/>
                    <a:pt x="27510" y="146717"/>
                  </a:cubicBezTo>
                  <a:cubicBezTo>
                    <a:pt x="33305" y="144156"/>
                    <a:pt x="39805" y="142875"/>
                    <a:pt x="47011" y="142875"/>
                  </a:cubicBezTo>
                  <a:close/>
                  <a:moveTo>
                    <a:pt x="299759" y="60164"/>
                  </a:moveTo>
                  <a:lnTo>
                    <a:pt x="282569" y="62573"/>
                  </a:lnTo>
                  <a:cubicBezTo>
                    <a:pt x="279574" y="63007"/>
                    <a:pt x="277013" y="63550"/>
                    <a:pt x="274886" y="64201"/>
                  </a:cubicBezTo>
                  <a:cubicBezTo>
                    <a:pt x="272759" y="64852"/>
                    <a:pt x="271001" y="65731"/>
                    <a:pt x="269612" y="66838"/>
                  </a:cubicBezTo>
                  <a:cubicBezTo>
                    <a:pt x="268222" y="67945"/>
                    <a:pt x="267202" y="69312"/>
                    <a:pt x="266551" y="70940"/>
                  </a:cubicBezTo>
                  <a:cubicBezTo>
                    <a:pt x="265900" y="72568"/>
                    <a:pt x="265575" y="74576"/>
                    <a:pt x="265575" y="76963"/>
                  </a:cubicBezTo>
                  <a:cubicBezTo>
                    <a:pt x="265575" y="78743"/>
                    <a:pt x="265889" y="80392"/>
                    <a:pt x="266519" y="81912"/>
                  </a:cubicBezTo>
                  <a:cubicBezTo>
                    <a:pt x="267148" y="83431"/>
                    <a:pt x="268060" y="84744"/>
                    <a:pt x="269253" y="85851"/>
                  </a:cubicBezTo>
                  <a:cubicBezTo>
                    <a:pt x="270447" y="86958"/>
                    <a:pt x="271901" y="87815"/>
                    <a:pt x="273616" y="88423"/>
                  </a:cubicBezTo>
                  <a:cubicBezTo>
                    <a:pt x="275331" y="89031"/>
                    <a:pt x="277273" y="89334"/>
                    <a:pt x="279444" y="89334"/>
                  </a:cubicBezTo>
                  <a:cubicBezTo>
                    <a:pt x="282395" y="89334"/>
                    <a:pt x="285108" y="88770"/>
                    <a:pt x="287583" y="87642"/>
                  </a:cubicBezTo>
                  <a:cubicBezTo>
                    <a:pt x="290057" y="86513"/>
                    <a:pt x="292195" y="84950"/>
                    <a:pt x="293996" y="82953"/>
                  </a:cubicBezTo>
                  <a:cubicBezTo>
                    <a:pt x="295798" y="80957"/>
                    <a:pt x="297208" y="78569"/>
                    <a:pt x="298228" y="75791"/>
                  </a:cubicBezTo>
                  <a:cubicBezTo>
                    <a:pt x="299249" y="73013"/>
                    <a:pt x="299759" y="69996"/>
                    <a:pt x="299759" y="66741"/>
                  </a:cubicBezTo>
                  <a:close/>
                  <a:moveTo>
                    <a:pt x="354583" y="27022"/>
                  </a:moveTo>
                  <a:cubicBezTo>
                    <a:pt x="355929" y="27022"/>
                    <a:pt x="357133" y="27109"/>
                    <a:pt x="358197" y="27282"/>
                  </a:cubicBezTo>
                  <a:cubicBezTo>
                    <a:pt x="359260" y="27456"/>
                    <a:pt x="360226" y="27717"/>
                    <a:pt x="361094" y="28064"/>
                  </a:cubicBezTo>
                  <a:lnTo>
                    <a:pt x="361094" y="36789"/>
                  </a:lnTo>
                  <a:cubicBezTo>
                    <a:pt x="359141" y="35356"/>
                    <a:pt x="356623" y="34640"/>
                    <a:pt x="353541" y="34640"/>
                  </a:cubicBezTo>
                  <a:cubicBezTo>
                    <a:pt x="351328" y="34640"/>
                    <a:pt x="349374" y="35063"/>
                    <a:pt x="347681" y="35910"/>
                  </a:cubicBezTo>
                  <a:cubicBezTo>
                    <a:pt x="345988" y="36756"/>
                    <a:pt x="344502" y="37896"/>
                    <a:pt x="343221" y="39328"/>
                  </a:cubicBezTo>
                  <a:cubicBezTo>
                    <a:pt x="341940" y="40761"/>
                    <a:pt x="340855" y="42421"/>
                    <a:pt x="339965" y="44309"/>
                  </a:cubicBezTo>
                  <a:cubicBezTo>
                    <a:pt x="339076" y="46198"/>
                    <a:pt x="338359" y="48162"/>
                    <a:pt x="337817" y="50202"/>
                  </a:cubicBezTo>
                  <a:cubicBezTo>
                    <a:pt x="337274" y="52242"/>
                    <a:pt x="336883" y="54304"/>
                    <a:pt x="336645" y="56388"/>
                  </a:cubicBezTo>
                  <a:cubicBezTo>
                    <a:pt x="336406" y="58471"/>
                    <a:pt x="336287" y="60446"/>
                    <a:pt x="336287" y="62313"/>
                  </a:cubicBezTo>
                  <a:lnTo>
                    <a:pt x="336287" y="94934"/>
                  </a:lnTo>
                  <a:lnTo>
                    <a:pt x="328017" y="94934"/>
                  </a:lnTo>
                  <a:lnTo>
                    <a:pt x="328017" y="28259"/>
                  </a:lnTo>
                  <a:lnTo>
                    <a:pt x="336287" y="28259"/>
                  </a:lnTo>
                  <a:lnTo>
                    <a:pt x="336287" y="42519"/>
                  </a:lnTo>
                  <a:lnTo>
                    <a:pt x="336547" y="42519"/>
                  </a:lnTo>
                  <a:cubicBezTo>
                    <a:pt x="337328" y="40088"/>
                    <a:pt x="338316" y="37907"/>
                    <a:pt x="339510" y="35975"/>
                  </a:cubicBezTo>
                  <a:cubicBezTo>
                    <a:pt x="340703" y="34043"/>
                    <a:pt x="342082" y="32415"/>
                    <a:pt x="343644" y="31092"/>
                  </a:cubicBezTo>
                  <a:cubicBezTo>
                    <a:pt x="345207" y="29768"/>
                    <a:pt x="346911" y="28758"/>
                    <a:pt x="348756" y="28064"/>
                  </a:cubicBezTo>
                  <a:cubicBezTo>
                    <a:pt x="350600" y="27369"/>
                    <a:pt x="352543" y="27022"/>
                    <a:pt x="354583" y="27022"/>
                  </a:cubicBezTo>
                  <a:close/>
                  <a:moveTo>
                    <a:pt x="285564" y="26696"/>
                  </a:moveTo>
                  <a:cubicBezTo>
                    <a:pt x="292987" y="26696"/>
                    <a:pt x="298597" y="28780"/>
                    <a:pt x="302396" y="32947"/>
                  </a:cubicBezTo>
                  <a:cubicBezTo>
                    <a:pt x="306194" y="37114"/>
                    <a:pt x="308093" y="43322"/>
                    <a:pt x="308093" y="51569"/>
                  </a:cubicBezTo>
                  <a:lnTo>
                    <a:pt x="308093" y="94934"/>
                  </a:lnTo>
                  <a:lnTo>
                    <a:pt x="299759" y="94934"/>
                  </a:lnTo>
                  <a:lnTo>
                    <a:pt x="299759" y="83084"/>
                  </a:lnTo>
                  <a:lnTo>
                    <a:pt x="299498" y="83084"/>
                  </a:lnTo>
                  <a:cubicBezTo>
                    <a:pt x="297328" y="87338"/>
                    <a:pt x="294365" y="90637"/>
                    <a:pt x="290610" y="92981"/>
                  </a:cubicBezTo>
                  <a:cubicBezTo>
                    <a:pt x="286855" y="95325"/>
                    <a:pt x="282612" y="96497"/>
                    <a:pt x="277881" y="96497"/>
                  </a:cubicBezTo>
                  <a:cubicBezTo>
                    <a:pt x="274669" y="96497"/>
                    <a:pt x="271771" y="96041"/>
                    <a:pt x="269188" y="95129"/>
                  </a:cubicBezTo>
                  <a:cubicBezTo>
                    <a:pt x="266606" y="94218"/>
                    <a:pt x="264413" y="92927"/>
                    <a:pt x="262612" y="91255"/>
                  </a:cubicBezTo>
                  <a:cubicBezTo>
                    <a:pt x="260811" y="89584"/>
                    <a:pt x="259422" y="87576"/>
                    <a:pt x="258445" y="85232"/>
                  </a:cubicBezTo>
                  <a:cubicBezTo>
                    <a:pt x="257468" y="82888"/>
                    <a:pt x="256980" y="80306"/>
                    <a:pt x="256980" y="77484"/>
                  </a:cubicBezTo>
                  <a:cubicBezTo>
                    <a:pt x="256980" y="71450"/>
                    <a:pt x="258846" y="66643"/>
                    <a:pt x="262579" y="63062"/>
                  </a:cubicBezTo>
                  <a:cubicBezTo>
                    <a:pt x="266313" y="59480"/>
                    <a:pt x="271956" y="57147"/>
                    <a:pt x="279509" y="56062"/>
                  </a:cubicBezTo>
                  <a:lnTo>
                    <a:pt x="299759" y="53132"/>
                  </a:lnTo>
                  <a:cubicBezTo>
                    <a:pt x="299759" y="40327"/>
                    <a:pt x="294788" y="33924"/>
                    <a:pt x="284848" y="33924"/>
                  </a:cubicBezTo>
                  <a:cubicBezTo>
                    <a:pt x="277078" y="33924"/>
                    <a:pt x="269872" y="36767"/>
                    <a:pt x="263231" y="42454"/>
                  </a:cubicBezTo>
                  <a:lnTo>
                    <a:pt x="263231" y="33338"/>
                  </a:lnTo>
                  <a:cubicBezTo>
                    <a:pt x="264620" y="32340"/>
                    <a:pt x="266193" y="31439"/>
                    <a:pt x="267951" y="30636"/>
                  </a:cubicBezTo>
                  <a:cubicBezTo>
                    <a:pt x="269709" y="29833"/>
                    <a:pt x="271565" y="29138"/>
                    <a:pt x="273518" y="28552"/>
                  </a:cubicBezTo>
                  <a:cubicBezTo>
                    <a:pt x="275472" y="27966"/>
                    <a:pt x="277479" y="27510"/>
                    <a:pt x="279541" y="27185"/>
                  </a:cubicBezTo>
                  <a:cubicBezTo>
                    <a:pt x="281603" y="26859"/>
                    <a:pt x="283611" y="26696"/>
                    <a:pt x="285564" y="26696"/>
                  </a:cubicBezTo>
                  <a:close/>
                  <a:moveTo>
                    <a:pt x="176148" y="26696"/>
                  </a:moveTo>
                  <a:cubicBezTo>
                    <a:pt x="178492" y="26696"/>
                    <a:pt x="180705" y="27055"/>
                    <a:pt x="182789" y="27771"/>
                  </a:cubicBezTo>
                  <a:cubicBezTo>
                    <a:pt x="184873" y="28487"/>
                    <a:pt x="186739" y="29485"/>
                    <a:pt x="188389" y="30766"/>
                  </a:cubicBezTo>
                  <a:cubicBezTo>
                    <a:pt x="190038" y="32046"/>
                    <a:pt x="191460" y="33577"/>
                    <a:pt x="192653" y="35356"/>
                  </a:cubicBezTo>
                  <a:cubicBezTo>
                    <a:pt x="193847" y="37136"/>
                    <a:pt x="194748" y="39089"/>
                    <a:pt x="195356" y="41216"/>
                  </a:cubicBezTo>
                  <a:cubicBezTo>
                    <a:pt x="197700" y="36485"/>
                    <a:pt x="200749" y="32882"/>
                    <a:pt x="204504" y="30408"/>
                  </a:cubicBezTo>
                  <a:cubicBezTo>
                    <a:pt x="208259" y="27934"/>
                    <a:pt x="212502" y="26696"/>
                    <a:pt x="217233" y="26696"/>
                  </a:cubicBezTo>
                  <a:cubicBezTo>
                    <a:pt x="231862" y="26696"/>
                    <a:pt x="239176" y="35725"/>
                    <a:pt x="239176" y="53783"/>
                  </a:cubicBezTo>
                  <a:lnTo>
                    <a:pt x="239176" y="94934"/>
                  </a:lnTo>
                  <a:lnTo>
                    <a:pt x="230842" y="94934"/>
                  </a:lnTo>
                  <a:lnTo>
                    <a:pt x="230842" y="55737"/>
                  </a:lnTo>
                  <a:cubicBezTo>
                    <a:pt x="230842" y="51743"/>
                    <a:pt x="230538" y="48368"/>
                    <a:pt x="229930" y="45612"/>
                  </a:cubicBezTo>
                  <a:cubicBezTo>
                    <a:pt x="229323" y="42855"/>
                    <a:pt x="228378" y="40609"/>
                    <a:pt x="227098" y="38872"/>
                  </a:cubicBezTo>
                  <a:cubicBezTo>
                    <a:pt x="225817" y="37136"/>
                    <a:pt x="224190" y="35877"/>
                    <a:pt x="222214" y="35096"/>
                  </a:cubicBezTo>
                  <a:cubicBezTo>
                    <a:pt x="220239" y="34315"/>
                    <a:pt x="217885" y="33924"/>
                    <a:pt x="215150" y="33924"/>
                  </a:cubicBezTo>
                  <a:cubicBezTo>
                    <a:pt x="212719" y="33924"/>
                    <a:pt x="210418" y="34499"/>
                    <a:pt x="208248" y="35649"/>
                  </a:cubicBezTo>
                  <a:cubicBezTo>
                    <a:pt x="206077" y="36800"/>
                    <a:pt x="204178" y="38384"/>
                    <a:pt x="202551" y="40403"/>
                  </a:cubicBezTo>
                  <a:cubicBezTo>
                    <a:pt x="200923" y="42421"/>
                    <a:pt x="199642" y="44798"/>
                    <a:pt x="198709" y="47532"/>
                  </a:cubicBezTo>
                  <a:cubicBezTo>
                    <a:pt x="197776" y="50267"/>
                    <a:pt x="197309" y="53219"/>
                    <a:pt x="197309" y="56388"/>
                  </a:cubicBezTo>
                  <a:lnTo>
                    <a:pt x="197309" y="94934"/>
                  </a:lnTo>
                  <a:lnTo>
                    <a:pt x="188975" y="94934"/>
                  </a:lnTo>
                  <a:lnTo>
                    <a:pt x="188975" y="54890"/>
                  </a:lnTo>
                  <a:cubicBezTo>
                    <a:pt x="188975" y="40913"/>
                    <a:pt x="183614" y="33924"/>
                    <a:pt x="172892" y="33924"/>
                  </a:cubicBezTo>
                  <a:cubicBezTo>
                    <a:pt x="170418" y="33924"/>
                    <a:pt x="168117" y="34477"/>
                    <a:pt x="165990" y="35584"/>
                  </a:cubicBezTo>
                  <a:cubicBezTo>
                    <a:pt x="163863" y="36691"/>
                    <a:pt x="162007" y="38243"/>
                    <a:pt x="160423" y="40240"/>
                  </a:cubicBezTo>
                  <a:cubicBezTo>
                    <a:pt x="158838" y="42237"/>
                    <a:pt x="157601" y="44635"/>
                    <a:pt x="156711" y="47435"/>
                  </a:cubicBezTo>
                  <a:cubicBezTo>
                    <a:pt x="155822" y="50235"/>
                    <a:pt x="155377" y="53327"/>
                    <a:pt x="155377" y="56713"/>
                  </a:cubicBezTo>
                  <a:lnTo>
                    <a:pt x="155377" y="94934"/>
                  </a:lnTo>
                  <a:lnTo>
                    <a:pt x="147042" y="94934"/>
                  </a:lnTo>
                  <a:lnTo>
                    <a:pt x="147042" y="28259"/>
                  </a:lnTo>
                  <a:lnTo>
                    <a:pt x="155377" y="28259"/>
                  </a:lnTo>
                  <a:lnTo>
                    <a:pt x="155377" y="39068"/>
                  </a:lnTo>
                  <a:lnTo>
                    <a:pt x="155637" y="39068"/>
                  </a:lnTo>
                  <a:cubicBezTo>
                    <a:pt x="160325" y="30820"/>
                    <a:pt x="167162" y="26696"/>
                    <a:pt x="176148" y="26696"/>
                  </a:cubicBezTo>
                  <a:close/>
                  <a:moveTo>
                    <a:pt x="387102" y="8725"/>
                  </a:moveTo>
                  <a:lnTo>
                    <a:pt x="387102" y="28259"/>
                  </a:lnTo>
                  <a:lnTo>
                    <a:pt x="404292" y="28259"/>
                  </a:lnTo>
                  <a:lnTo>
                    <a:pt x="404292" y="35552"/>
                  </a:lnTo>
                  <a:lnTo>
                    <a:pt x="387102" y="35552"/>
                  </a:lnTo>
                  <a:lnTo>
                    <a:pt x="387102" y="76377"/>
                  </a:lnTo>
                  <a:cubicBezTo>
                    <a:pt x="387102" y="80892"/>
                    <a:pt x="387840" y="84147"/>
                    <a:pt x="389316" y="86144"/>
                  </a:cubicBezTo>
                  <a:cubicBezTo>
                    <a:pt x="390792" y="88141"/>
                    <a:pt x="393288" y="89139"/>
                    <a:pt x="396804" y="89139"/>
                  </a:cubicBezTo>
                  <a:cubicBezTo>
                    <a:pt x="399408" y="89139"/>
                    <a:pt x="401904" y="88358"/>
                    <a:pt x="404292" y="86795"/>
                  </a:cubicBezTo>
                  <a:lnTo>
                    <a:pt x="404292" y="94153"/>
                  </a:lnTo>
                  <a:cubicBezTo>
                    <a:pt x="401427" y="95585"/>
                    <a:pt x="398301" y="96301"/>
                    <a:pt x="394916" y="96301"/>
                  </a:cubicBezTo>
                  <a:cubicBezTo>
                    <a:pt x="384150" y="96301"/>
                    <a:pt x="378768" y="90094"/>
                    <a:pt x="378768" y="77679"/>
                  </a:cubicBezTo>
                  <a:lnTo>
                    <a:pt x="378768" y="35552"/>
                  </a:lnTo>
                  <a:lnTo>
                    <a:pt x="367047" y="35552"/>
                  </a:lnTo>
                  <a:lnTo>
                    <a:pt x="367047" y="28259"/>
                  </a:lnTo>
                  <a:lnTo>
                    <a:pt x="378768" y="28259"/>
                  </a:lnTo>
                  <a:lnTo>
                    <a:pt x="378768" y="11460"/>
                  </a:lnTo>
                  <a:close/>
                  <a:moveTo>
                    <a:pt x="108691" y="0"/>
                  </a:moveTo>
                  <a:cubicBezTo>
                    <a:pt x="116027" y="0"/>
                    <a:pt x="122169" y="1020"/>
                    <a:pt x="127118" y="3061"/>
                  </a:cubicBezTo>
                  <a:lnTo>
                    <a:pt x="127118" y="12632"/>
                  </a:lnTo>
                  <a:cubicBezTo>
                    <a:pt x="121605" y="9463"/>
                    <a:pt x="115137" y="7879"/>
                    <a:pt x="107714" y="7879"/>
                  </a:cubicBezTo>
                  <a:cubicBezTo>
                    <a:pt x="104936" y="7879"/>
                    <a:pt x="102321" y="8215"/>
                    <a:pt x="99868" y="8888"/>
                  </a:cubicBezTo>
                  <a:cubicBezTo>
                    <a:pt x="97416" y="9561"/>
                    <a:pt x="95267" y="10549"/>
                    <a:pt x="93422" y="11851"/>
                  </a:cubicBezTo>
                  <a:cubicBezTo>
                    <a:pt x="91577" y="13153"/>
                    <a:pt x="90123" y="14770"/>
                    <a:pt x="89060" y="16702"/>
                  </a:cubicBezTo>
                  <a:cubicBezTo>
                    <a:pt x="87996" y="18633"/>
                    <a:pt x="87465" y="20880"/>
                    <a:pt x="87465" y="23441"/>
                  </a:cubicBezTo>
                  <a:cubicBezTo>
                    <a:pt x="87465" y="25872"/>
                    <a:pt x="87823" y="27966"/>
                    <a:pt x="88539" y="29724"/>
                  </a:cubicBezTo>
                  <a:cubicBezTo>
                    <a:pt x="89255" y="31482"/>
                    <a:pt x="90405" y="33143"/>
                    <a:pt x="91990" y="34705"/>
                  </a:cubicBezTo>
                  <a:cubicBezTo>
                    <a:pt x="93574" y="36268"/>
                    <a:pt x="95658" y="37820"/>
                    <a:pt x="98241" y="39361"/>
                  </a:cubicBezTo>
                  <a:cubicBezTo>
                    <a:pt x="100823" y="40902"/>
                    <a:pt x="103981" y="42671"/>
                    <a:pt x="107714" y="44667"/>
                  </a:cubicBezTo>
                  <a:cubicBezTo>
                    <a:pt x="111621" y="46751"/>
                    <a:pt x="115029" y="48780"/>
                    <a:pt x="117937" y="50755"/>
                  </a:cubicBezTo>
                  <a:cubicBezTo>
                    <a:pt x="120845" y="52731"/>
                    <a:pt x="123265" y="54792"/>
                    <a:pt x="125197" y="56941"/>
                  </a:cubicBezTo>
                  <a:cubicBezTo>
                    <a:pt x="127129" y="59090"/>
                    <a:pt x="128572" y="61369"/>
                    <a:pt x="129527" y="63778"/>
                  </a:cubicBezTo>
                  <a:cubicBezTo>
                    <a:pt x="130482" y="66187"/>
                    <a:pt x="130960" y="68867"/>
                    <a:pt x="130960" y="71819"/>
                  </a:cubicBezTo>
                  <a:cubicBezTo>
                    <a:pt x="130960" y="75900"/>
                    <a:pt x="130200" y="79492"/>
                    <a:pt x="128681" y="82595"/>
                  </a:cubicBezTo>
                  <a:cubicBezTo>
                    <a:pt x="127161" y="85699"/>
                    <a:pt x="125034" y="88271"/>
                    <a:pt x="122300" y="90311"/>
                  </a:cubicBezTo>
                  <a:cubicBezTo>
                    <a:pt x="119565" y="92351"/>
                    <a:pt x="116309" y="93892"/>
                    <a:pt x="112533" y="94934"/>
                  </a:cubicBezTo>
                  <a:cubicBezTo>
                    <a:pt x="108756" y="95976"/>
                    <a:pt x="104611" y="96497"/>
                    <a:pt x="100096" y="96497"/>
                  </a:cubicBezTo>
                  <a:cubicBezTo>
                    <a:pt x="98620" y="96497"/>
                    <a:pt x="96862" y="96377"/>
                    <a:pt x="94822" y="96139"/>
                  </a:cubicBezTo>
                  <a:cubicBezTo>
                    <a:pt x="92782" y="95900"/>
                    <a:pt x="90720" y="95553"/>
                    <a:pt x="88637" y="95097"/>
                  </a:cubicBezTo>
                  <a:cubicBezTo>
                    <a:pt x="86553" y="94641"/>
                    <a:pt x="84567" y="94099"/>
                    <a:pt x="82679" y="93469"/>
                  </a:cubicBezTo>
                  <a:cubicBezTo>
                    <a:pt x="80791" y="92840"/>
                    <a:pt x="79260" y="92156"/>
                    <a:pt x="78088" y="91418"/>
                  </a:cubicBezTo>
                  <a:lnTo>
                    <a:pt x="78088" y="81261"/>
                  </a:lnTo>
                  <a:cubicBezTo>
                    <a:pt x="79651" y="82433"/>
                    <a:pt x="81377" y="83485"/>
                    <a:pt x="83265" y="84418"/>
                  </a:cubicBezTo>
                  <a:cubicBezTo>
                    <a:pt x="85153" y="85352"/>
                    <a:pt x="87085" y="86133"/>
                    <a:pt x="89060" y="86763"/>
                  </a:cubicBezTo>
                  <a:cubicBezTo>
                    <a:pt x="91035" y="87392"/>
                    <a:pt x="93021" y="87869"/>
                    <a:pt x="95018" y="88195"/>
                  </a:cubicBezTo>
                  <a:cubicBezTo>
                    <a:pt x="97014" y="88521"/>
                    <a:pt x="98924" y="88683"/>
                    <a:pt x="100747" y="88683"/>
                  </a:cubicBezTo>
                  <a:cubicBezTo>
                    <a:pt x="107823" y="88683"/>
                    <a:pt x="113119" y="87316"/>
                    <a:pt x="116635" y="84581"/>
                  </a:cubicBezTo>
                  <a:cubicBezTo>
                    <a:pt x="120151" y="81847"/>
                    <a:pt x="121909" y="77918"/>
                    <a:pt x="121909" y="72796"/>
                  </a:cubicBezTo>
                  <a:cubicBezTo>
                    <a:pt x="121909" y="70322"/>
                    <a:pt x="121497" y="68162"/>
                    <a:pt x="120672" y="66317"/>
                  </a:cubicBezTo>
                  <a:cubicBezTo>
                    <a:pt x="119847" y="64472"/>
                    <a:pt x="118567" y="62747"/>
                    <a:pt x="116830" y="61141"/>
                  </a:cubicBezTo>
                  <a:cubicBezTo>
                    <a:pt x="115094" y="59535"/>
                    <a:pt x="112902" y="57939"/>
                    <a:pt x="110254" y="56355"/>
                  </a:cubicBezTo>
                  <a:cubicBezTo>
                    <a:pt x="107606" y="54771"/>
                    <a:pt x="104481" y="52980"/>
                    <a:pt x="100878" y="50983"/>
                  </a:cubicBezTo>
                  <a:cubicBezTo>
                    <a:pt x="96884" y="48813"/>
                    <a:pt x="93466" y="46762"/>
                    <a:pt x="90622" y="44830"/>
                  </a:cubicBezTo>
                  <a:cubicBezTo>
                    <a:pt x="87779" y="42899"/>
                    <a:pt x="85457" y="40923"/>
                    <a:pt x="83655" y="38905"/>
                  </a:cubicBezTo>
                  <a:cubicBezTo>
                    <a:pt x="81854" y="36887"/>
                    <a:pt x="80530" y="34705"/>
                    <a:pt x="79684" y="32361"/>
                  </a:cubicBezTo>
                  <a:cubicBezTo>
                    <a:pt x="78837" y="30017"/>
                    <a:pt x="78414" y="27348"/>
                    <a:pt x="78414" y="24352"/>
                  </a:cubicBezTo>
                  <a:cubicBezTo>
                    <a:pt x="78414" y="20576"/>
                    <a:pt x="79217" y="17190"/>
                    <a:pt x="80823" y="14195"/>
                  </a:cubicBezTo>
                  <a:cubicBezTo>
                    <a:pt x="82429" y="11200"/>
                    <a:pt x="84600" y="8649"/>
                    <a:pt x="87334" y="6544"/>
                  </a:cubicBezTo>
                  <a:cubicBezTo>
                    <a:pt x="90069" y="4439"/>
                    <a:pt x="93270" y="2822"/>
                    <a:pt x="96938" y="1693"/>
                  </a:cubicBezTo>
                  <a:cubicBezTo>
                    <a:pt x="100606" y="565"/>
                    <a:pt x="104524" y="0"/>
                    <a:pt x="108691" y="0"/>
                  </a:cubicBezTo>
                  <a:close/>
                </a:path>
              </a:pathLst>
            </a:custGeom>
            <a:grpFill/>
            <a:ln>
              <a:noFill/>
            </a:ln>
            <a:effec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588"/>
                </a:spcAft>
                <a:buClrTx/>
                <a:buSzTx/>
                <a:buFontTx/>
                <a:buNone/>
                <a:tabLst/>
                <a:defRPr/>
              </a:pPr>
              <a:endParaRPr kumimoji="0" lang="en-US" sz="1050" b="0" i="0" u="none" strike="noStrike" kern="0" cap="none" spc="0" normalizeH="0" baseline="0" noProof="0">
                <a:ln>
                  <a:noFill/>
                </a:ln>
                <a:solidFill>
                  <a:srgbClr val="1A1A1A"/>
                </a:solidFill>
                <a:effectLst/>
                <a:uLnTx/>
                <a:uFillTx/>
                <a:latin typeface="Segoe UI"/>
                <a:ea typeface="+mn-ea"/>
                <a:cs typeface="+mn-cs"/>
              </a:endParaRPr>
            </a:p>
          </p:txBody>
        </p:sp>
      </p:grpSp>
      <p:sp>
        <p:nvSpPr>
          <p:cNvPr id="186" name="Freeform 14">
            <a:extLst>
              <a:ext uri="{FF2B5EF4-FFF2-40B4-BE49-F238E27FC236}">
                <a16:creationId xmlns:a16="http://schemas.microsoft.com/office/drawing/2014/main" id="{451A8902-3328-4439-BD8B-10AAD7DCEC70}"/>
              </a:ext>
            </a:extLst>
          </p:cNvPr>
          <p:cNvSpPr>
            <a:spLocks/>
          </p:cNvSpPr>
          <p:nvPr/>
        </p:nvSpPr>
        <p:spPr bwMode="auto">
          <a:xfrm>
            <a:off x="8868971" y="2461770"/>
            <a:ext cx="452049" cy="506729"/>
          </a:xfrm>
          <a:custGeom>
            <a:avLst/>
            <a:gdLst>
              <a:gd name="T0" fmla="*/ 917 w 1834"/>
              <a:gd name="T1" fmla="*/ 0 h 2050"/>
              <a:gd name="T2" fmla="*/ 1731 w 1834"/>
              <a:gd name="T3" fmla="*/ 0 h 2050"/>
              <a:gd name="T4" fmla="*/ 1831 w 1834"/>
              <a:gd name="T5" fmla="*/ 66 h 2050"/>
              <a:gd name="T6" fmla="*/ 1834 w 1834"/>
              <a:gd name="T7" fmla="*/ 98 h 2050"/>
              <a:gd name="T8" fmla="*/ 1834 w 1834"/>
              <a:gd name="T9" fmla="*/ 1418 h 2050"/>
              <a:gd name="T10" fmla="*/ 1736 w 1834"/>
              <a:gd name="T11" fmla="*/ 1516 h 2050"/>
              <a:gd name="T12" fmla="*/ 1398 w 1834"/>
              <a:gd name="T13" fmla="*/ 1515 h 2050"/>
              <a:gd name="T14" fmla="*/ 1374 w 1834"/>
              <a:gd name="T15" fmla="*/ 1535 h 2050"/>
              <a:gd name="T16" fmla="*/ 1147 w 1834"/>
              <a:gd name="T17" fmla="*/ 1911 h 2050"/>
              <a:gd name="T18" fmla="*/ 718 w 1834"/>
              <a:gd name="T19" fmla="*/ 2037 h 2050"/>
              <a:gd name="T20" fmla="*/ 498 w 1834"/>
              <a:gd name="T21" fmla="*/ 1976 h 2050"/>
              <a:gd name="T22" fmla="*/ 490 w 1834"/>
              <a:gd name="T23" fmla="*/ 1949 h 2050"/>
              <a:gd name="T24" fmla="*/ 554 w 1834"/>
              <a:gd name="T25" fmla="*/ 1828 h 2050"/>
              <a:gd name="T26" fmla="*/ 584 w 1834"/>
              <a:gd name="T27" fmla="*/ 1819 h 2050"/>
              <a:gd name="T28" fmla="*/ 968 w 1834"/>
              <a:gd name="T29" fmla="*/ 1815 h 2050"/>
              <a:gd name="T30" fmla="*/ 1201 w 1834"/>
              <a:gd name="T31" fmla="*/ 1492 h 2050"/>
              <a:gd name="T32" fmla="*/ 860 w 1834"/>
              <a:gd name="T33" fmla="*/ 1001 h 2050"/>
              <a:gd name="T34" fmla="*/ 581 w 1834"/>
              <a:gd name="T35" fmla="*/ 1037 h 2050"/>
              <a:gd name="T36" fmla="*/ 555 w 1834"/>
              <a:gd name="T37" fmla="*/ 1029 h 2050"/>
              <a:gd name="T38" fmla="*/ 488 w 1834"/>
              <a:gd name="T39" fmla="*/ 902 h 2050"/>
              <a:gd name="T40" fmla="*/ 494 w 1834"/>
              <a:gd name="T41" fmla="*/ 881 h 2050"/>
              <a:gd name="T42" fmla="*/ 825 w 1834"/>
              <a:gd name="T43" fmla="*/ 817 h 2050"/>
              <a:gd name="T44" fmla="*/ 1320 w 1834"/>
              <a:gd name="T45" fmla="*/ 1153 h 2050"/>
              <a:gd name="T46" fmla="*/ 1374 w 1834"/>
              <a:gd name="T47" fmla="*/ 1317 h 2050"/>
              <a:gd name="T48" fmla="*/ 1400 w 1834"/>
              <a:gd name="T49" fmla="*/ 1340 h 2050"/>
              <a:gd name="T50" fmla="*/ 1640 w 1834"/>
              <a:gd name="T51" fmla="*/ 1339 h 2050"/>
              <a:gd name="T52" fmla="*/ 1658 w 1834"/>
              <a:gd name="T53" fmla="*/ 1321 h 2050"/>
              <a:gd name="T54" fmla="*/ 1658 w 1834"/>
              <a:gd name="T55" fmla="*/ 401 h 2050"/>
              <a:gd name="T56" fmla="*/ 1637 w 1834"/>
              <a:gd name="T57" fmla="*/ 383 h 2050"/>
              <a:gd name="T58" fmla="*/ 719 w 1834"/>
              <a:gd name="T59" fmla="*/ 383 h 2050"/>
              <a:gd name="T60" fmla="*/ 197 w 1834"/>
              <a:gd name="T61" fmla="*/ 383 h 2050"/>
              <a:gd name="T62" fmla="*/ 177 w 1834"/>
              <a:gd name="T63" fmla="*/ 402 h 2050"/>
              <a:gd name="T64" fmla="*/ 177 w 1834"/>
              <a:gd name="T65" fmla="*/ 1320 h 2050"/>
              <a:gd name="T66" fmla="*/ 197 w 1834"/>
              <a:gd name="T67" fmla="*/ 1339 h 2050"/>
              <a:gd name="T68" fmla="*/ 497 w 1834"/>
              <a:gd name="T69" fmla="*/ 1339 h 2050"/>
              <a:gd name="T70" fmla="*/ 522 w 1834"/>
              <a:gd name="T71" fmla="*/ 1323 h 2050"/>
              <a:gd name="T72" fmla="*/ 783 w 1834"/>
              <a:gd name="T73" fmla="*/ 1158 h 2050"/>
              <a:gd name="T74" fmla="*/ 1033 w 1834"/>
              <a:gd name="T75" fmla="*/ 1351 h 2050"/>
              <a:gd name="T76" fmla="*/ 958 w 1834"/>
              <a:gd name="T77" fmla="*/ 1623 h 2050"/>
              <a:gd name="T78" fmla="*/ 674 w 1834"/>
              <a:gd name="T79" fmla="*/ 1678 h 2050"/>
              <a:gd name="T80" fmla="*/ 521 w 1834"/>
              <a:gd name="T81" fmla="*/ 1528 h 2050"/>
              <a:gd name="T82" fmla="*/ 498 w 1834"/>
              <a:gd name="T83" fmla="*/ 1515 h 2050"/>
              <a:gd name="T84" fmla="*/ 102 w 1834"/>
              <a:gd name="T85" fmla="*/ 1516 h 2050"/>
              <a:gd name="T86" fmla="*/ 1 w 1834"/>
              <a:gd name="T87" fmla="*/ 1415 h 2050"/>
              <a:gd name="T88" fmla="*/ 1 w 1834"/>
              <a:gd name="T89" fmla="*/ 101 h 2050"/>
              <a:gd name="T90" fmla="*/ 103 w 1834"/>
              <a:gd name="T91" fmla="*/ 0 h 2050"/>
              <a:gd name="T92" fmla="*/ 917 w 1834"/>
              <a:gd name="T93"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4" h="2050">
                <a:moveTo>
                  <a:pt x="917" y="0"/>
                </a:moveTo>
                <a:cubicBezTo>
                  <a:pt x="1189" y="0"/>
                  <a:pt x="1460" y="0"/>
                  <a:pt x="1731" y="0"/>
                </a:cubicBezTo>
                <a:cubicBezTo>
                  <a:pt x="1783" y="0"/>
                  <a:pt x="1818" y="23"/>
                  <a:pt x="1831" y="66"/>
                </a:cubicBezTo>
                <a:cubicBezTo>
                  <a:pt x="1834" y="77"/>
                  <a:pt x="1834" y="87"/>
                  <a:pt x="1834" y="98"/>
                </a:cubicBezTo>
                <a:cubicBezTo>
                  <a:pt x="1834" y="538"/>
                  <a:pt x="1834" y="978"/>
                  <a:pt x="1834" y="1418"/>
                </a:cubicBezTo>
                <a:cubicBezTo>
                  <a:pt x="1834" y="1481"/>
                  <a:pt x="1799" y="1515"/>
                  <a:pt x="1736" y="1516"/>
                </a:cubicBezTo>
                <a:cubicBezTo>
                  <a:pt x="1623" y="1516"/>
                  <a:pt x="1511" y="1516"/>
                  <a:pt x="1398" y="1515"/>
                </a:cubicBezTo>
                <a:cubicBezTo>
                  <a:pt x="1381" y="1515"/>
                  <a:pt x="1377" y="1521"/>
                  <a:pt x="1374" y="1535"/>
                </a:cubicBezTo>
                <a:cubicBezTo>
                  <a:pt x="1348" y="1690"/>
                  <a:pt x="1271" y="1815"/>
                  <a:pt x="1147" y="1911"/>
                </a:cubicBezTo>
                <a:cubicBezTo>
                  <a:pt x="1021" y="2009"/>
                  <a:pt x="877" y="2050"/>
                  <a:pt x="718" y="2037"/>
                </a:cubicBezTo>
                <a:cubicBezTo>
                  <a:pt x="640" y="2030"/>
                  <a:pt x="567" y="2010"/>
                  <a:pt x="498" y="1976"/>
                </a:cubicBezTo>
                <a:cubicBezTo>
                  <a:pt x="484" y="1969"/>
                  <a:pt x="482" y="1963"/>
                  <a:pt x="490" y="1949"/>
                </a:cubicBezTo>
                <a:cubicBezTo>
                  <a:pt x="512" y="1909"/>
                  <a:pt x="534" y="1869"/>
                  <a:pt x="554" y="1828"/>
                </a:cubicBezTo>
                <a:cubicBezTo>
                  <a:pt x="562" y="1811"/>
                  <a:pt x="570" y="1812"/>
                  <a:pt x="584" y="1819"/>
                </a:cubicBezTo>
                <a:cubicBezTo>
                  <a:pt x="713" y="1881"/>
                  <a:pt x="842" y="1880"/>
                  <a:pt x="968" y="1815"/>
                </a:cubicBezTo>
                <a:cubicBezTo>
                  <a:pt x="1099" y="1747"/>
                  <a:pt x="1178" y="1638"/>
                  <a:pt x="1201" y="1492"/>
                </a:cubicBezTo>
                <a:cubicBezTo>
                  <a:pt x="1238" y="1261"/>
                  <a:pt x="1081" y="1050"/>
                  <a:pt x="860" y="1001"/>
                </a:cubicBezTo>
                <a:cubicBezTo>
                  <a:pt x="763" y="979"/>
                  <a:pt x="669" y="992"/>
                  <a:pt x="581" y="1037"/>
                </a:cubicBezTo>
                <a:cubicBezTo>
                  <a:pt x="567" y="1043"/>
                  <a:pt x="562" y="1043"/>
                  <a:pt x="555" y="1029"/>
                </a:cubicBezTo>
                <a:cubicBezTo>
                  <a:pt x="534" y="986"/>
                  <a:pt x="511" y="944"/>
                  <a:pt x="488" y="902"/>
                </a:cubicBezTo>
                <a:cubicBezTo>
                  <a:pt x="483" y="892"/>
                  <a:pt x="481" y="887"/>
                  <a:pt x="494" y="881"/>
                </a:cubicBezTo>
                <a:cubicBezTo>
                  <a:pt x="599" y="832"/>
                  <a:pt x="709" y="805"/>
                  <a:pt x="825" y="817"/>
                </a:cubicBezTo>
                <a:cubicBezTo>
                  <a:pt x="1048" y="841"/>
                  <a:pt x="1214" y="954"/>
                  <a:pt x="1320" y="1153"/>
                </a:cubicBezTo>
                <a:cubicBezTo>
                  <a:pt x="1347" y="1204"/>
                  <a:pt x="1365" y="1259"/>
                  <a:pt x="1374" y="1317"/>
                </a:cubicBezTo>
                <a:cubicBezTo>
                  <a:pt x="1376" y="1333"/>
                  <a:pt x="1381" y="1340"/>
                  <a:pt x="1400" y="1340"/>
                </a:cubicBezTo>
                <a:cubicBezTo>
                  <a:pt x="1480" y="1338"/>
                  <a:pt x="1560" y="1339"/>
                  <a:pt x="1640" y="1339"/>
                </a:cubicBezTo>
                <a:cubicBezTo>
                  <a:pt x="1654" y="1339"/>
                  <a:pt x="1658" y="1335"/>
                  <a:pt x="1658" y="1321"/>
                </a:cubicBezTo>
                <a:cubicBezTo>
                  <a:pt x="1657" y="1015"/>
                  <a:pt x="1657" y="708"/>
                  <a:pt x="1658" y="401"/>
                </a:cubicBezTo>
                <a:cubicBezTo>
                  <a:pt x="1658" y="384"/>
                  <a:pt x="1651" y="383"/>
                  <a:pt x="1637" y="383"/>
                </a:cubicBezTo>
                <a:cubicBezTo>
                  <a:pt x="1331" y="383"/>
                  <a:pt x="1025" y="383"/>
                  <a:pt x="719" y="383"/>
                </a:cubicBezTo>
                <a:cubicBezTo>
                  <a:pt x="545" y="383"/>
                  <a:pt x="371" y="383"/>
                  <a:pt x="197" y="383"/>
                </a:cubicBezTo>
                <a:cubicBezTo>
                  <a:pt x="182" y="383"/>
                  <a:pt x="177" y="386"/>
                  <a:pt x="177" y="402"/>
                </a:cubicBezTo>
                <a:cubicBezTo>
                  <a:pt x="177" y="708"/>
                  <a:pt x="177" y="1014"/>
                  <a:pt x="177" y="1320"/>
                </a:cubicBezTo>
                <a:cubicBezTo>
                  <a:pt x="177" y="1337"/>
                  <a:pt x="182" y="1339"/>
                  <a:pt x="197" y="1339"/>
                </a:cubicBezTo>
                <a:cubicBezTo>
                  <a:pt x="297" y="1339"/>
                  <a:pt x="397" y="1339"/>
                  <a:pt x="497" y="1339"/>
                </a:cubicBezTo>
                <a:cubicBezTo>
                  <a:pt x="510" y="1339"/>
                  <a:pt x="516" y="1336"/>
                  <a:pt x="522" y="1323"/>
                </a:cubicBezTo>
                <a:cubicBezTo>
                  <a:pt x="563" y="1220"/>
                  <a:pt x="671" y="1152"/>
                  <a:pt x="783" y="1158"/>
                </a:cubicBezTo>
                <a:cubicBezTo>
                  <a:pt x="903" y="1165"/>
                  <a:pt x="1002" y="1242"/>
                  <a:pt x="1033" y="1351"/>
                </a:cubicBezTo>
                <a:cubicBezTo>
                  <a:pt x="1063" y="1457"/>
                  <a:pt x="1037" y="1549"/>
                  <a:pt x="958" y="1623"/>
                </a:cubicBezTo>
                <a:cubicBezTo>
                  <a:pt x="876" y="1699"/>
                  <a:pt x="779" y="1716"/>
                  <a:pt x="674" y="1678"/>
                </a:cubicBezTo>
                <a:cubicBezTo>
                  <a:pt x="601" y="1651"/>
                  <a:pt x="549" y="1601"/>
                  <a:pt x="521" y="1528"/>
                </a:cubicBezTo>
                <a:cubicBezTo>
                  <a:pt x="516" y="1515"/>
                  <a:pt x="508" y="1515"/>
                  <a:pt x="498" y="1515"/>
                </a:cubicBezTo>
                <a:cubicBezTo>
                  <a:pt x="366" y="1516"/>
                  <a:pt x="234" y="1516"/>
                  <a:pt x="102" y="1516"/>
                </a:cubicBezTo>
                <a:cubicBezTo>
                  <a:pt x="35" y="1516"/>
                  <a:pt x="1" y="1481"/>
                  <a:pt x="1" y="1415"/>
                </a:cubicBezTo>
                <a:cubicBezTo>
                  <a:pt x="0" y="977"/>
                  <a:pt x="0" y="539"/>
                  <a:pt x="1" y="101"/>
                </a:cubicBezTo>
                <a:cubicBezTo>
                  <a:pt x="1" y="34"/>
                  <a:pt x="35" y="0"/>
                  <a:pt x="103" y="0"/>
                </a:cubicBezTo>
                <a:cubicBezTo>
                  <a:pt x="375" y="0"/>
                  <a:pt x="646" y="0"/>
                  <a:pt x="917" y="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91" name="Group 190">
            <a:extLst>
              <a:ext uri="{FF2B5EF4-FFF2-40B4-BE49-F238E27FC236}">
                <a16:creationId xmlns:a16="http://schemas.microsoft.com/office/drawing/2014/main" id="{8C378069-583E-4591-AA8B-B737643CC911}"/>
              </a:ext>
            </a:extLst>
          </p:cNvPr>
          <p:cNvGrpSpPr/>
          <p:nvPr/>
        </p:nvGrpSpPr>
        <p:grpSpPr>
          <a:xfrm>
            <a:off x="7300246" y="4654141"/>
            <a:ext cx="498192" cy="546366"/>
            <a:chOff x="6620328" y="4192420"/>
            <a:chExt cx="854490" cy="937117"/>
          </a:xfrm>
          <a:solidFill>
            <a:schemeClr val="accent1"/>
          </a:solidFill>
        </p:grpSpPr>
        <p:sp>
          <p:nvSpPr>
            <p:cNvPr id="192" name="Freeform 101">
              <a:extLst>
                <a:ext uri="{FF2B5EF4-FFF2-40B4-BE49-F238E27FC236}">
                  <a16:creationId xmlns:a16="http://schemas.microsoft.com/office/drawing/2014/main" id="{B6126FAE-AE28-424D-ACA1-89BBC5084D31}"/>
                </a:ext>
              </a:extLst>
            </p:cNvPr>
            <p:cNvSpPr>
              <a:spLocks noEditPoints="1"/>
            </p:cNvSpPr>
            <p:nvPr/>
          </p:nvSpPr>
          <p:spPr bwMode="auto">
            <a:xfrm>
              <a:off x="6636184" y="4192420"/>
              <a:ext cx="319822" cy="419247"/>
            </a:xfrm>
            <a:custGeom>
              <a:avLst/>
              <a:gdLst>
                <a:gd name="T0" fmla="*/ 1572 w 1573"/>
                <a:gd name="T1" fmla="*/ 1720 h 2055"/>
                <a:gd name="T2" fmla="*/ 1225 w 1573"/>
                <a:gd name="T3" fmla="*/ 1995 h 2055"/>
                <a:gd name="T4" fmla="*/ 361 w 1573"/>
                <a:gd name="T5" fmla="*/ 1995 h 2055"/>
                <a:gd name="T6" fmla="*/ 48 w 1573"/>
                <a:gd name="T7" fmla="*/ 1839 h 2055"/>
                <a:gd name="T8" fmla="*/ 0 w 1573"/>
                <a:gd name="T9" fmla="*/ 334 h 2055"/>
                <a:gd name="T10" fmla="*/ 326 w 1573"/>
                <a:gd name="T11" fmla="*/ 67 h 2055"/>
                <a:gd name="T12" fmla="*/ 1157 w 1573"/>
                <a:gd name="T13" fmla="*/ 46 h 2055"/>
                <a:gd name="T14" fmla="*/ 1547 w 1573"/>
                <a:gd name="T15" fmla="*/ 243 h 2055"/>
                <a:gd name="T16" fmla="*/ 1571 w 1573"/>
                <a:gd name="T17" fmla="*/ 1032 h 2055"/>
                <a:gd name="T18" fmla="*/ 1068 w 1573"/>
                <a:gd name="T19" fmla="*/ 426 h 2055"/>
                <a:gd name="T20" fmla="*/ 1291 w 1573"/>
                <a:gd name="T21" fmla="*/ 210 h 2055"/>
                <a:gd name="T22" fmla="*/ 655 w 1573"/>
                <a:gd name="T23" fmla="*/ 118 h 2055"/>
                <a:gd name="T24" fmla="*/ 247 w 1573"/>
                <a:gd name="T25" fmla="*/ 239 h 2055"/>
                <a:gd name="T26" fmla="*/ 283 w 1573"/>
                <a:gd name="T27" fmla="*/ 351 h 2055"/>
                <a:gd name="T28" fmla="*/ 795 w 1573"/>
                <a:gd name="T29" fmla="*/ 447 h 2055"/>
                <a:gd name="T30" fmla="*/ 1253 w 1573"/>
                <a:gd name="T31" fmla="*/ 944 h 2055"/>
                <a:gd name="T32" fmla="*/ 1045 w 1573"/>
                <a:gd name="T33" fmla="*/ 799 h 2055"/>
                <a:gd name="T34" fmla="*/ 1026 w 1573"/>
                <a:gd name="T35" fmla="*/ 890 h 2055"/>
                <a:gd name="T36" fmla="*/ 1102 w 1573"/>
                <a:gd name="T37" fmla="*/ 965 h 2055"/>
                <a:gd name="T38" fmla="*/ 1168 w 1573"/>
                <a:gd name="T39" fmla="*/ 1218 h 2055"/>
                <a:gd name="T40" fmla="*/ 1137 w 1573"/>
                <a:gd name="T41" fmla="*/ 1260 h 2055"/>
                <a:gd name="T42" fmla="*/ 1102 w 1573"/>
                <a:gd name="T43" fmla="*/ 1542 h 2055"/>
                <a:gd name="T44" fmla="*/ 1026 w 1573"/>
                <a:gd name="T45" fmla="*/ 1638 h 2055"/>
                <a:gd name="T46" fmla="*/ 1046 w 1573"/>
                <a:gd name="T47" fmla="*/ 1726 h 2055"/>
                <a:gd name="T48" fmla="*/ 1239 w 1573"/>
                <a:gd name="T49" fmla="*/ 1624 h 2055"/>
                <a:gd name="T50" fmla="*/ 1258 w 1573"/>
                <a:gd name="T51" fmla="*/ 1353 h 2055"/>
                <a:gd name="T52" fmla="*/ 1330 w 1573"/>
                <a:gd name="T53" fmla="*/ 1277 h 2055"/>
                <a:gd name="T54" fmla="*/ 1303 w 1573"/>
                <a:gd name="T55" fmla="*/ 1147 h 2055"/>
                <a:gd name="T56" fmla="*/ 1257 w 1573"/>
                <a:gd name="T57" fmla="*/ 1039 h 2055"/>
                <a:gd name="T58" fmla="*/ 339 w 1573"/>
                <a:gd name="T59" fmla="*/ 1573 h 2055"/>
                <a:gd name="T60" fmla="*/ 541 w 1573"/>
                <a:gd name="T61" fmla="*/ 1721 h 2055"/>
                <a:gd name="T62" fmla="*/ 558 w 1573"/>
                <a:gd name="T63" fmla="*/ 1633 h 2055"/>
                <a:gd name="T64" fmla="*/ 485 w 1573"/>
                <a:gd name="T65" fmla="*/ 1561 h 2055"/>
                <a:gd name="T66" fmla="*/ 481 w 1573"/>
                <a:gd name="T67" fmla="*/ 1361 h 2055"/>
                <a:gd name="T68" fmla="*/ 423 w 1573"/>
                <a:gd name="T69" fmla="*/ 1212 h 2055"/>
                <a:gd name="T70" fmla="*/ 482 w 1573"/>
                <a:gd name="T71" fmla="*/ 969 h 2055"/>
                <a:gd name="T72" fmla="*/ 558 w 1573"/>
                <a:gd name="T73" fmla="*/ 898 h 2055"/>
                <a:gd name="T74" fmla="*/ 545 w 1573"/>
                <a:gd name="T75" fmla="*/ 793 h 2055"/>
                <a:gd name="T76" fmla="*/ 337 w 1573"/>
                <a:gd name="T77" fmla="*/ 933 h 2055"/>
                <a:gd name="T78" fmla="*/ 276 w 1573"/>
                <a:gd name="T79" fmla="*/ 1147 h 2055"/>
                <a:gd name="T80" fmla="*/ 258 w 1573"/>
                <a:gd name="T81" fmla="*/ 1273 h 2055"/>
                <a:gd name="T82" fmla="*/ 334 w 1573"/>
                <a:gd name="T83" fmla="*/ 1357 h 2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3" h="2055">
                  <a:moveTo>
                    <a:pt x="1571" y="1032"/>
                  </a:moveTo>
                  <a:cubicBezTo>
                    <a:pt x="1571" y="1261"/>
                    <a:pt x="1569" y="1491"/>
                    <a:pt x="1572" y="1720"/>
                  </a:cubicBezTo>
                  <a:cubicBezTo>
                    <a:pt x="1573" y="1788"/>
                    <a:pt x="1544" y="1836"/>
                    <a:pt x="1494" y="1875"/>
                  </a:cubicBezTo>
                  <a:cubicBezTo>
                    <a:pt x="1414" y="1936"/>
                    <a:pt x="1321" y="1970"/>
                    <a:pt x="1225" y="1995"/>
                  </a:cubicBezTo>
                  <a:cubicBezTo>
                    <a:pt x="1119" y="2023"/>
                    <a:pt x="1011" y="2037"/>
                    <a:pt x="902" y="2044"/>
                  </a:cubicBezTo>
                  <a:cubicBezTo>
                    <a:pt x="719" y="2055"/>
                    <a:pt x="539" y="2041"/>
                    <a:pt x="361" y="1995"/>
                  </a:cubicBezTo>
                  <a:cubicBezTo>
                    <a:pt x="269" y="1970"/>
                    <a:pt x="180" y="1937"/>
                    <a:pt x="100" y="1883"/>
                  </a:cubicBezTo>
                  <a:cubicBezTo>
                    <a:pt x="81" y="1870"/>
                    <a:pt x="64" y="1855"/>
                    <a:pt x="48" y="1839"/>
                  </a:cubicBezTo>
                  <a:cubicBezTo>
                    <a:pt x="18" y="1807"/>
                    <a:pt x="1" y="1770"/>
                    <a:pt x="1" y="1724"/>
                  </a:cubicBezTo>
                  <a:cubicBezTo>
                    <a:pt x="2" y="1261"/>
                    <a:pt x="2" y="798"/>
                    <a:pt x="0" y="334"/>
                  </a:cubicBezTo>
                  <a:cubicBezTo>
                    <a:pt x="0" y="271"/>
                    <a:pt x="26" y="226"/>
                    <a:pt x="72" y="188"/>
                  </a:cubicBezTo>
                  <a:cubicBezTo>
                    <a:pt x="147" y="127"/>
                    <a:pt x="235" y="93"/>
                    <a:pt x="326" y="67"/>
                  </a:cubicBezTo>
                  <a:cubicBezTo>
                    <a:pt x="444" y="33"/>
                    <a:pt x="564" y="16"/>
                    <a:pt x="686" y="9"/>
                  </a:cubicBezTo>
                  <a:cubicBezTo>
                    <a:pt x="845" y="0"/>
                    <a:pt x="1002" y="12"/>
                    <a:pt x="1157" y="46"/>
                  </a:cubicBezTo>
                  <a:cubicBezTo>
                    <a:pt x="1260" y="69"/>
                    <a:pt x="1360" y="102"/>
                    <a:pt x="1451" y="157"/>
                  </a:cubicBezTo>
                  <a:cubicBezTo>
                    <a:pt x="1488" y="180"/>
                    <a:pt x="1522" y="206"/>
                    <a:pt x="1547" y="243"/>
                  </a:cubicBezTo>
                  <a:cubicBezTo>
                    <a:pt x="1563" y="267"/>
                    <a:pt x="1571" y="293"/>
                    <a:pt x="1571" y="322"/>
                  </a:cubicBezTo>
                  <a:cubicBezTo>
                    <a:pt x="1571" y="559"/>
                    <a:pt x="1571" y="795"/>
                    <a:pt x="1571" y="1032"/>
                  </a:cubicBezTo>
                  <a:close/>
                  <a:moveTo>
                    <a:pt x="795" y="447"/>
                  </a:moveTo>
                  <a:cubicBezTo>
                    <a:pt x="882" y="449"/>
                    <a:pt x="975" y="442"/>
                    <a:pt x="1068" y="426"/>
                  </a:cubicBezTo>
                  <a:cubicBezTo>
                    <a:pt x="1144" y="412"/>
                    <a:pt x="1220" y="396"/>
                    <a:pt x="1288" y="355"/>
                  </a:cubicBezTo>
                  <a:cubicBezTo>
                    <a:pt x="1359" y="312"/>
                    <a:pt x="1360" y="255"/>
                    <a:pt x="1291" y="210"/>
                  </a:cubicBezTo>
                  <a:cubicBezTo>
                    <a:pt x="1235" y="174"/>
                    <a:pt x="1171" y="157"/>
                    <a:pt x="1106" y="143"/>
                  </a:cubicBezTo>
                  <a:cubicBezTo>
                    <a:pt x="957" y="112"/>
                    <a:pt x="807" y="108"/>
                    <a:pt x="655" y="118"/>
                  </a:cubicBezTo>
                  <a:cubicBezTo>
                    <a:pt x="560" y="125"/>
                    <a:pt x="466" y="138"/>
                    <a:pt x="375" y="168"/>
                  </a:cubicBezTo>
                  <a:cubicBezTo>
                    <a:pt x="328" y="183"/>
                    <a:pt x="282" y="201"/>
                    <a:pt x="247" y="239"/>
                  </a:cubicBezTo>
                  <a:cubicBezTo>
                    <a:pt x="224" y="266"/>
                    <a:pt x="224" y="296"/>
                    <a:pt x="248" y="322"/>
                  </a:cubicBezTo>
                  <a:cubicBezTo>
                    <a:pt x="258" y="333"/>
                    <a:pt x="270" y="343"/>
                    <a:pt x="283" y="351"/>
                  </a:cubicBezTo>
                  <a:cubicBezTo>
                    <a:pt x="321" y="375"/>
                    <a:pt x="362" y="390"/>
                    <a:pt x="404" y="402"/>
                  </a:cubicBezTo>
                  <a:cubicBezTo>
                    <a:pt x="530" y="436"/>
                    <a:pt x="658" y="449"/>
                    <a:pt x="795" y="447"/>
                  </a:cubicBezTo>
                  <a:close/>
                  <a:moveTo>
                    <a:pt x="1257" y="1039"/>
                  </a:moveTo>
                  <a:cubicBezTo>
                    <a:pt x="1257" y="1007"/>
                    <a:pt x="1259" y="975"/>
                    <a:pt x="1253" y="944"/>
                  </a:cubicBezTo>
                  <a:cubicBezTo>
                    <a:pt x="1246" y="894"/>
                    <a:pt x="1226" y="851"/>
                    <a:pt x="1178" y="828"/>
                  </a:cubicBezTo>
                  <a:cubicBezTo>
                    <a:pt x="1137" y="808"/>
                    <a:pt x="1091" y="800"/>
                    <a:pt x="1045" y="799"/>
                  </a:cubicBezTo>
                  <a:cubicBezTo>
                    <a:pt x="1031" y="798"/>
                    <a:pt x="1026" y="805"/>
                    <a:pt x="1026" y="818"/>
                  </a:cubicBezTo>
                  <a:cubicBezTo>
                    <a:pt x="1026" y="842"/>
                    <a:pt x="1026" y="866"/>
                    <a:pt x="1026" y="890"/>
                  </a:cubicBezTo>
                  <a:cubicBezTo>
                    <a:pt x="1026" y="918"/>
                    <a:pt x="1026" y="918"/>
                    <a:pt x="1054" y="918"/>
                  </a:cubicBezTo>
                  <a:cubicBezTo>
                    <a:pt x="1093" y="918"/>
                    <a:pt x="1102" y="926"/>
                    <a:pt x="1102" y="965"/>
                  </a:cubicBezTo>
                  <a:cubicBezTo>
                    <a:pt x="1102" y="1010"/>
                    <a:pt x="1100" y="1055"/>
                    <a:pt x="1103" y="1099"/>
                  </a:cubicBezTo>
                  <a:cubicBezTo>
                    <a:pt x="1106" y="1148"/>
                    <a:pt x="1114" y="1196"/>
                    <a:pt x="1168" y="1218"/>
                  </a:cubicBezTo>
                  <a:cubicBezTo>
                    <a:pt x="1178" y="1222"/>
                    <a:pt x="1175" y="1229"/>
                    <a:pt x="1167" y="1234"/>
                  </a:cubicBezTo>
                  <a:cubicBezTo>
                    <a:pt x="1156" y="1240"/>
                    <a:pt x="1146" y="1249"/>
                    <a:pt x="1137" y="1260"/>
                  </a:cubicBezTo>
                  <a:cubicBezTo>
                    <a:pt x="1110" y="1294"/>
                    <a:pt x="1104" y="1335"/>
                    <a:pt x="1103" y="1376"/>
                  </a:cubicBezTo>
                  <a:cubicBezTo>
                    <a:pt x="1101" y="1432"/>
                    <a:pt x="1102" y="1487"/>
                    <a:pt x="1102" y="1542"/>
                  </a:cubicBezTo>
                  <a:cubicBezTo>
                    <a:pt x="1102" y="1588"/>
                    <a:pt x="1088" y="1606"/>
                    <a:pt x="1043" y="1616"/>
                  </a:cubicBezTo>
                  <a:cubicBezTo>
                    <a:pt x="1030" y="1619"/>
                    <a:pt x="1026" y="1626"/>
                    <a:pt x="1026" y="1638"/>
                  </a:cubicBezTo>
                  <a:cubicBezTo>
                    <a:pt x="1027" y="1661"/>
                    <a:pt x="1027" y="1684"/>
                    <a:pt x="1026" y="1706"/>
                  </a:cubicBezTo>
                  <a:cubicBezTo>
                    <a:pt x="1026" y="1721"/>
                    <a:pt x="1031" y="1727"/>
                    <a:pt x="1046" y="1726"/>
                  </a:cubicBezTo>
                  <a:cubicBezTo>
                    <a:pt x="1083" y="1724"/>
                    <a:pt x="1120" y="1720"/>
                    <a:pt x="1156" y="1707"/>
                  </a:cubicBezTo>
                  <a:cubicBezTo>
                    <a:pt x="1197" y="1693"/>
                    <a:pt x="1224" y="1665"/>
                    <a:pt x="1239" y="1624"/>
                  </a:cubicBezTo>
                  <a:cubicBezTo>
                    <a:pt x="1253" y="1585"/>
                    <a:pt x="1256" y="1544"/>
                    <a:pt x="1257" y="1503"/>
                  </a:cubicBezTo>
                  <a:cubicBezTo>
                    <a:pt x="1258" y="1453"/>
                    <a:pt x="1257" y="1403"/>
                    <a:pt x="1258" y="1353"/>
                  </a:cubicBezTo>
                  <a:cubicBezTo>
                    <a:pt x="1258" y="1314"/>
                    <a:pt x="1273" y="1300"/>
                    <a:pt x="1311" y="1298"/>
                  </a:cubicBezTo>
                  <a:cubicBezTo>
                    <a:pt x="1326" y="1297"/>
                    <a:pt x="1331" y="1291"/>
                    <a:pt x="1330" y="1277"/>
                  </a:cubicBezTo>
                  <a:cubicBezTo>
                    <a:pt x="1330" y="1243"/>
                    <a:pt x="1330" y="1209"/>
                    <a:pt x="1330" y="1175"/>
                  </a:cubicBezTo>
                  <a:cubicBezTo>
                    <a:pt x="1330" y="1148"/>
                    <a:pt x="1330" y="1148"/>
                    <a:pt x="1303" y="1147"/>
                  </a:cubicBezTo>
                  <a:cubicBezTo>
                    <a:pt x="1271" y="1146"/>
                    <a:pt x="1259" y="1133"/>
                    <a:pt x="1258" y="1101"/>
                  </a:cubicBezTo>
                  <a:cubicBezTo>
                    <a:pt x="1257" y="1081"/>
                    <a:pt x="1257" y="1060"/>
                    <a:pt x="1257" y="1039"/>
                  </a:cubicBezTo>
                  <a:close/>
                  <a:moveTo>
                    <a:pt x="334" y="1450"/>
                  </a:moveTo>
                  <a:cubicBezTo>
                    <a:pt x="335" y="1489"/>
                    <a:pt x="332" y="1531"/>
                    <a:pt x="339" y="1573"/>
                  </a:cubicBezTo>
                  <a:cubicBezTo>
                    <a:pt x="348" y="1630"/>
                    <a:pt x="369" y="1677"/>
                    <a:pt x="428" y="1699"/>
                  </a:cubicBezTo>
                  <a:cubicBezTo>
                    <a:pt x="465" y="1714"/>
                    <a:pt x="503" y="1717"/>
                    <a:pt x="541" y="1721"/>
                  </a:cubicBezTo>
                  <a:cubicBezTo>
                    <a:pt x="553" y="1723"/>
                    <a:pt x="558" y="1717"/>
                    <a:pt x="558" y="1705"/>
                  </a:cubicBezTo>
                  <a:cubicBezTo>
                    <a:pt x="558" y="1681"/>
                    <a:pt x="557" y="1657"/>
                    <a:pt x="558" y="1633"/>
                  </a:cubicBezTo>
                  <a:cubicBezTo>
                    <a:pt x="559" y="1618"/>
                    <a:pt x="554" y="1612"/>
                    <a:pt x="538" y="1611"/>
                  </a:cubicBezTo>
                  <a:cubicBezTo>
                    <a:pt x="508" y="1609"/>
                    <a:pt x="490" y="1591"/>
                    <a:pt x="485" y="1561"/>
                  </a:cubicBezTo>
                  <a:cubicBezTo>
                    <a:pt x="483" y="1547"/>
                    <a:pt x="482" y="1533"/>
                    <a:pt x="482" y="1519"/>
                  </a:cubicBezTo>
                  <a:cubicBezTo>
                    <a:pt x="482" y="1466"/>
                    <a:pt x="483" y="1414"/>
                    <a:pt x="481" y="1361"/>
                  </a:cubicBezTo>
                  <a:cubicBezTo>
                    <a:pt x="479" y="1308"/>
                    <a:pt x="474" y="1256"/>
                    <a:pt x="421" y="1226"/>
                  </a:cubicBezTo>
                  <a:cubicBezTo>
                    <a:pt x="413" y="1221"/>
                    <a:pt x="416" y="1215"/>
                    <a:pt x="423" y="1212"/>
                  </a:cubicBezTo>
                  <a:cubicBezTo>
                    <a:pt x="471" y="1190"/>
                    <a:pt x="480" y="1147"/>
                    <a:pt x="482" y="1101"/>
                  </a:cubicBezTo>
                  <a:cubicBezTo>
                    <a:pt x="483" y="1057"/>
                    <a:pt x="482" y="1013"/>
                    <a:pt x="482" y="969"/>
                  </a:cubicBezTo>
                  <a:cubicBezTo>
                    <a:pt x="483" y="916"/>
                    <a:pt x="490" y="905"/>
                    <a:pt x="542" y="912"/>
                  </a:cubicBezTo>
                  <a:cubicBezTo>
                    <a:pt x="553" y="914"/>
                    <a:pt x="558" y="909"/>
                    <a:pt x="558" y="898"/>
                  </a:cubicBezTo>
                  <a:cubicBezTo>
                    <a:pt x="558" y="868"/>
                    <a:pt x="558" y="837"/>
                    <a:pt x="558" y="806"/>
                  </a:cubicBezTo>
                  <a:cubicBezTo>
                    <a:pt x="558" y="798"/>
                    <a:pt x="556" y="792"/>
                    <a:pt x="545" y="793"/>
                  </a:cubicBezTo>
                  <a:cubicBezTo>
                    <a:pt x="516" y="796"/>
                    <a:pt x="487" y="795"/>
                    <a:pt x="458" y="802"/>
                  </a:cubicBezTo>
                  <a:cubicBezTo>
                    <a:pt x="380" y="820"/>
                    <a:pt x="347" y="854"/>
                    <a:pt x="337" y="933"/>
                  </a:cubicBezTo>
                  <a:cubicBezTo>
                    <a:pt x="330" y="983"/>
                    <a:pt x="335" y="1034"/>
                    <a:pt x="334" y="1084"/>
                  </a:cubicBezTo>
                  <a:cubicBezTo>
                    <a:pt x="333" y="1131"/>
                    <a:pt x="322" y="1143"/>
                    <a:pt x="276" y="1147"/>
                  </a:cubicBezTo>
                  <a:cubicBezTo>
                    <a:pt x="263" y="1148"/>
                    <a:pt x="258" y="1153"/>
                    <a:pt x="258" y="1165"/>
                  </a:cubicBezTo>
                  <a:cubicBezTo>
                    <a:pt x="259" y="1201"/>
                    <a:pt x="259" y="1237"/>
                    <a:pt x="258" y="1273"/>
                  </a:cubicBezTo>
                  <a:cubicBezTo>
                    <a:pt x="258" y="1284"/>
                    <a:pt x="263" y="1289"/>
                    <a:pt x="275" y="1291"/>
                  </a:cubicBezTo>
                  <a:cubicBezTo>
                    <a:pt x="320" y="1296"/>
                    <a:pt x="333" y="1311"/>
                    <a:pt x="334" y="1357"/>
                  </a:cubicBezTo>
                  <a:cubicBezTo>
                    <a:pt x="335" y="1387"/>
                    <a:pt x="334" y="1417"/>
                    <a:pt x="334" y="1450"/>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2" name="Freeform 58">
              <a:extLst>
                <a:ext uri="{FF2B5EF4-FFF2-40B4-BE49-F238E27FC236}">
                  <a16:creationId xmlns:a16="http://schemas.microsoft.com/office/drawing/2014/main" id="{BAD4980A-7A21-4718-97CB-8A69465B5433}"/>
                </a:ext>
              </a:extLst>
            </p:cNvPr>
            <p:cNvSpPr>
              <a:spLocks/>
            </p:cNvSpPr>
            <p:nvPr/>
          </p:nvSpPr>
          <p:spPr bwMode="auto">
            <a:xfrm>
              <a:off x="7059451" y="4220638"/>
              <a:ext cx="415367" cy="362811"/>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grp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52">
              <a:extLst>
                <a:ext uri="{FF2B5EF4-FFF2-40B4-BE49-F238E27FC236}">
                  <a16:creationId xmlns:a16="http://schemas.microsoft.com/office/drawing/2014/main" id="{6A519418-CC6F-4367-8ADC-FA9FDCF524EB}"/>
                </a:ext>
              </a:extLst>
            </p:cNvPr>
            <p:cNvSpPr>
              <a:spLocks/>
            </p:cNvSpPr>
            <p:nvPr/>
          </p:nvSpPr>
          <p:spPr bwMode="auto">
            <a:xfrm>
              <a:off x="6620328" y="4659390"/>
              <a:ext cx="351535" cy="470147"/>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grp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14">
              <a:extLst>
                <a:ext uri="{FF2B5EF4-FFF2-40B4-BE49-F238E27FC236}">
                  <a16:creationId xmlns:a16="http://schemas.microsoft.com/office/drawing/2014/main" id="{74F91B3E-9E80-41F6-9E08-DBE867DF25D0}"/>
                </a:ext>
              </a:extLst>
            </p:cNvPr>
            <p:cNvSpPr>
              <a:spLocks/>
            </p:cNvSpPr>
            <p:nvPr/>
          </p:nvSpPr>
          <p:spPr bwMode="auto">
            <a:xfrm>
              <a:off x="7083993" y="4689169"/>
              <a:ext cx="366283" cy="410589"/>
            </a:xfrm>
            <a:custGeom>
              <a:avLst/>
              <a:gdLst>
                <a:gd name="T0" fmla="*/ 917 w 1834"/>
                <a:gd name="T1" fmla="*/ 0 h 2050"/>
                <a:gd name="T2" fmla="*/ 1731 w 1834"/>
                <a:gd name="T3" fmla="*/ 0 h 2050"/>
                <a:gd name="T4" fmla="*/ 1831 w 1834"/>
                <a:gd name="T5" fmla="*/ 66 h 2050"/>
                <a:gd name="T6" fmla="*/ 1834 w 1834"/>
                <a:gd name="T7" fmla="*/ 98 h 2050"/>
                <a:gd name="T8" fmla="*/ 1834 w 1834"/>
                <a:gd name="T9" fmla="*/ 1418 h 2050"/>
                <a:gd name="T10" fmla="*/ 1736 w 1834"/>
                <a:gd name="T11" fmla="*/ 1516 h 2050"/>
                <a:gd name="T12" fmla="*/ 1398 w 1834"/>
                <a:gd name="T13" fmla="*/ 1515 h 2050"/>
                <a:gd name="T14" fmla="*/ 1374 w 1834"/>
                <a:gd name="T15" fmla="*/ 1535 h 2050"/>
                <a:gd name="T16" fmla="*/ 1147 w 1834"/>
                <a:gd name="T17" fmla="*/ 1911 h 2050"/>
                <a:gd name="T18" fmla="*/ 718 w 1834"/>
                <a:gd name="T19" fmla="*/ 2037 h 2050"/>
                <a:gd name="T20" fmla="*/ 498 w 1834"/>
                <a:gd name="T21" fmla="*/ 1976 h 2050"/>
                <a:gd name="T22" fmla="*/ 490 w 1834"/>
                <a:gd name="T23" fmla="*/ 1949 h 2050"/>
                <a:gd name="T24" fmla="*/ 554 w 1834"/>
                <a:gd name="T25" fmla="*/ 1828 h 2050"/>
                <a:gd name="T26" fmla="*/ 584 w 1834"/>
                <a:gd name="T27" fmla="*/ 1819 h 2050"/>
                <a:gd name="T28" fmla="*/ 968 w 1834"/>
                <a:gd name="T29" fmla="*/ 1815 h 2050"/>
                <a:gd name="T30" fmla="*/ 1201 w 1834"/>
                <a:gd name="T31" fmla="*/ 1492 h 2050"/>
                <a:gd name="T32" fmla="*/ 860 w 1834"/>
                <a:gd name="T33" fmla="*/ 1001 h 2050"/>
                <a:gd name="T34" fmla="*/ 581 w 1834"/>
                <a:gd name="T35" fmla="*/ 1037 h 2050"/>
                <a:gd name="T36" fmla="*/ 555 w 1834"/>
                <a:gd name="T37" fmla="*/ 1029 h 2050"/>
                <a:gd name="T38" fmla="*/ 488 w 1834"/>
                <a:gd name="T39" fmla="*/ 902 h 2050"/>
                <a:gd name="T40" fmla="*/ 494 w 1834"/>
                <a:gd name="T41" fmla="*/ 881 h 2050"/>
                <a:gd name="T42" fmla="*/ 825 w 1834"/>
                <a:gd name="T43" fmla="*/ 817 h 2050"/>
                <a:gd name="T44" fmla="*/ 1320 w 1834"/>
                <a:gd name="T45" fmla="*/ 1153 h 2050"/>
                <a:gd name="T46" fmla="*/ 1374 w 1834"/>
                <a:gd name="T47" fmla="*/ 1317 h 2050"/>
                <a:gd name="T48" fmla="*/ 1400 w 1834"/>
                <a:gd name="T49" fmla="*/ 1340 h 2050"/>
                <a:gd name="T50" fmla="*/ 1640 w 1834"/>
                <a:gd name="T51" fmla="*/ 1339 h 2050"/>
                <a:gd name="T52" fmla="*/ 1658 w 1834"/>
                <a:gd name="T53" fmla="*/ 1321 h 2050"/>
                <a:gd name="T54" fmla="*/ 1658 w 1834"/>
                <a:gd name="T55" fmla="*/ 401 h 2050"/>
                <a:gd name="T56" fmla="*/ 1637 w 1834"/>
                <a:gd name="T57" fmla="*/ 383 h 2050"/>
                <a:gd name="T58" fmla="*/ 719 w 1834"/>
                <a:gd name="T59" fmla="*/ 383 h 2050"/>
                <a:gd name="T60" fmla="*/ 197 w 1834"/>
                <a:gd name="T61" fmla="*/ 383 h 2050"/>
                <a:gd name="T62" fmla="*/ 177 w 1834"/>
                <a:gd name="T63" fmla="*/ 402 h 2050"/>
                <a:gd name="T64" fmla="*/ 177 w 1834"/>
                <a:gd name="T65" fmla="*/ 1320 h 2050"/>
                <a:gd name="T66" fmla="*/ 197 w 1834"/>
                <a:gd name="T67" fmla="*/ 1339 h 2050"/>
                <a:gd name="T68" fmla="*/ 497 w 1834"/>
                <a:gd name="T69" fmla="*/ 1339 h 2050"/>
                <a:gd name="T70" fmla="*/ 522 w 1834"/>
                <a:gd name="T71" fmla="*/ 1323 h 2050"/>
                <a:gd name="T72" fmla="*/ 783 w 1834"/>
                <a:gd name="T73" fmla="*/ 1158 h 2050"/>
                <a:gd name="T74" fmla="*/ 1033 w 1834"/>
                <a:gd name="T75" fmla="*/ 1351 h 2050"/>
                <a:gd name="T76" fmla="*/ 958 w 1834"/>
                <a:gd name="T77" fmla="*/ 1623 h 2050"/>
                <a:gd name="T78" fmla="*/ 674 w 1834"/>
                <a:gd name="T79" fmla="*/ 1678 h 2050"/>
                <a:gd name="T80" fmla="*/ 521 w 1834"/>
                <a:gd name="T81" fmla="*/ 1528 h 2050"/>
                <a:gd name="T82" fmla="*/ 498 w 1834"/>
                <a:gd name="T83" fmla="*/ 1515 h 2050"/>
                <a:gd name="T84" fmla="*/ 102 w 1834"/>
                <a:gd name="T85" fmla="*/ 1516 h 2050"/>
                <a:gd name="T86" fmla="*/ 1 w 1834"/>
                <a:gd name="T87" fmla="*/ 1415 h 2050"/>
                <a:gd name="T88" fmla="*/ 1 w 1834"/>
                <a:gd name="T89" fmla="*/ 101 h 2050"/>
                <a:gd name="T90" fmla="*/ 103 w 1834"/>
                <a:gd name="T91" fmla="*/ 0 h 2050"/>
                <a:gd name="T92" fmla="*/ 917 w 1834"/>
                <a:gd name="T93"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4" h="2050">
                  <a:moveTo>
                    <a:pt x="917" y="0"/>
                  </a:moveTo>
                  <a:cubicBezTo>
                    <a:pt x="1189" y="0"/>
                    <a:pt x="1460" y="0"/>
                    <a:pt x="1731" y="0"/>
                  </a:cubicBezTo>
                  <a:cubicBezTo>
                    <a:pt x="1783" y="0"/>
                    <a:pt x="1818" y="23"/>
                    <a:pt x="1831" y="66"/>
                  </a:cubicBezTo>
                  <a:cubicBezTo>
                    <a:pt x="1834" y="77"/>
                    <a:pt x="1834" y="87"/>
                    <a:pt x="1834" y="98"/>
                  </a:cubicBezTo>
                  <a:cubicBezTo>
                    <a:pt x="1834" y="538"/>
                    <a:pt x="1834" y="978"/>
                    <a:pt x="1834" y="1418"/>
                  </a:cubicBezTo>
                  <a:cubicBezTo>
                    <a:pt x="1834" y="1481"/>
                    <a:pt x="1799" y="1515"/>
                    <a:pt x="1736" y="1516"/>
                  </a:cubicBezTo>
                  <a:cubicBezTo>
                    <a:pt x="1623" y="1516"/>
                    <a:pt x="1511" y="1516"/>
                    <a:pt x="1398" y="1515"/>
                  </a:cubicBezTo>
                  <a:cubicBezTo>
                    <a:pt x="1381" y="1515"/>
                    <a:pt x="1377" y="1521"/>
                    <a:pt x="1374" y="1535"/>
                  </a:cubicBezTo>
                  <a:cubicBezTo>
                    <a:pt x="1348" y="1690"/>
                    <a:pt x="1271" y="1815"/>
                    <a:pt x="1147" y="1911"/>
                  </a:cubicBezTo>
                  <a:cubicBezTo>
                    <a:pt x="1021" y="2009"/>
                    <a:pt x="877" y="2050"/>
                    <a:pt x="718" y="2037"/>
                  </a:cubicBezTo>
                  <a:cubicBezTo>
                    <a:pt x="640" y="2030"/>
                    <a:pt x="567" y="2010"/>
                    <a:pt x="498" y="1976"/>
                  </a:cubicBezTo>
                  <a:cubicBezTo>
                    <a:pt x="484" y="1969"/>
                    <a:pt x="482" y="1963"/>
                    <a:pt x="490" y="1949"/>
                  </a:cubicBezTo>
                  <a:cubicBezTo>
                    <a:pt x="512" y="1909"/>
                    <a:pt x="534" y="1869"/>
                    <a:pt x="554" y="1828"/>
                  </a:cubicBezTo>
                  <a:cubicBezTo>
                    <a:pt x="562" y="1811"/>
                    <a:pt x="570" y="1812"/>
                    <a:pt x="584" y="1819"/>
                  </a:cubicBezTo>
                  <a:cubicBezTo>
                    <a:pt x="713" y="1881"/>
                    <a:pt x="842" y="1880"/>
                    <a:pt x="968" y="1815"/>
                  </a:cubicBezTo>
                  <a:cubicBezTo>
                    <a:pt x="1099" y="1747"/>
                    <a:pt x="1178" y="1638"/>
                    <a:pt x="1201" y="1492"/>
                  </a:cubicBezTo>
                  <a:cubicBezTo>
                    <a:pt x="1238" y="1261"/>
                    <a:pt x="1081" y="1050"/>
                    <a:pt x="860" y="1001"/>
                  </a:cubicBezTo>
                  <a:cubicBezTo>
                    <a:pt x="763" y="979"/>
                    <a:pt x="669" y="992"/>
                    <a:pt x="581" y="1037"/>
                  </a:cubicBezTo>
                  <a:cubicBezTo>
                    <a:pt x="567" y="1043"/>
                    <a:pt x="562" y="1043"/>
                    <a:pt x="555" y="1029"/>
                  </a:cubicBezTo>
                  <a:cubicBezTo>
                    <a:pt x="534" y="986"/>
                    <a:pt x="511" y="944"/>
                    <a:pt x="488" y="902"/>
                  </a:cubicBezTo>
                  <a:cubicBezTo>
                    <a:pt x="483" y="892"/>
                    <a:pt x="481" y="887"/>
                    <a:pt x="494" y="881"/>
                  </a:cubicBezTo>
                  <a:cubicBezTo>
                    <a:pt x="599" y="832"/>
                    <a:pt x="709" y="805"/>
                    <a:pt x="825" y="817"/>
                  </a:cubicBezTo>
                  <a:cubicBezTo>
                    <a:pt x="1048" y="841"/>
                    <a:pt x="1214" y="954"/>
                    <a:pt x="1320" y="1153"/>
                  </a:cubicBezTo>
                  <a:cubicBezTo>
                    <a:pt x="1347" y="1204"/>
                    <a:pt x="1365" y="1259"/>
                    <a:pt x="1374" y="1317"/>
                  </a:cubicBezTo>
                  <a:cubicBezTo>
                    <a:pt x="1376" y="1333"/>
                    <a:pt x="1381" y="1340"/>
                    <a:pt x="1400" y="1340"/>
                  </a:cubicBezTo>
                  <a:cubicBezTo>
                    <a:pt x="1480" y="1338"/>
                    <a:pt x="1560" y="1339"/>
                    <a:pt x="1640" y="1339"/>
                  </a:cubicBezTo>
                  <a:cubicBezTo>
                    <a:pt x="1654" y="1339"/>
                    <a:pt x="1658" y="1335"/>
                    <a:pt x="1658" y="1321"/>
                  </a:cubicBezTo>
                  <a:cubicBezTo>
                    <a:pt x="1657" y="1015"/>
                    <a:pt x="1657" y="708"/>
                    <a:pt x="1658" y="401"/>
                  </a:cubicBezTo>
                  <a:cubicBezTo>
                    <a:pt x="1658" y="384"/>
                    <a:pt x="1651" y="383"/>
                    <a:pt x="1637" y="383"/>
                  </a:cubicBezTo>
                  <a:cubicBezTo>
                    <a:pt x="1331" y="383"/>
                    <a:pt x="1025" y="383"/>
                    <a:pt x="719" y="383"/>
                  </a:cubicBezTo>
                  <a:cubicBezTo>
                    <a:pt x="545" y="383"/>
                    <a:pt x="371" y="383"/>
                    <a:pt x="197" y="383"/>
                  </a:cubicBezTo>
                  <a:cubicBezTo>
                    <a:pt x="182" y="383"/>
                    <a:pt x="177" y="386"/>
                    <a:pt x="177" y="402"/>
                  </a:cubicBezTo>
                  <a:cubicBezTo>
                    <a:pt x="177" y="708"/>
                    <a:pt x="177" y="1014"/>
                    <a:pt x="177" y="1320"/>
                  </a:cubicBezTo>
                  <a:cubicBezTo>
                    <a:pt x="177" y="1337"/>
                    <a:pt x="182" y="1339"/>
                    <a:pt x="197" y="1339"/>
                  </a:cubicBezTo>
                  <a:cubicBezTo>
                    <a:pt x="297" y="1339"/>
                    <a:pt x="397" y="1339"/>
                    <a:pt x="497" y="1339"/>
                  </a:cubicBezTo>
                  <a:cubicBezTo>
                    <a:pt x="510" y="1339"/>
                    <a:pt x="516" y="1336"/>
                    <a:pt x="522" y="1323"/>
                  </a:cubicBezTo>
                  <a:cubicBezTo>
                    <a:pt x="563" y="1220"/>
                    <a:pt x="671" y="1152"/>
                    <a:pt x="783" y="1158"/>
                  </a:cubicBezTo>
                  <a:cubicBezTo>
                    <a:pt x="903" y="1165"/>
                    <a:pt x="1002" y="1242"/>
                    <a:pt x="1033" y="1351"/>
                  </a:cubicBezTo>
                  <a:cubicBezTo>
                    <a:pt x="1063" y="1457"/>
                    <a:pt x="1037" y="1549"/>
                    <a:pt x="958" y="1623"/>
                  </a:cubicBezTo>
                  <a:cubicBezTo>
                    <a:pt x="876" y="1699"/>
                    <a:pt x="779" y="1716"/>
                    <a:pt x="674" y="1678"/>
                  </a:cubicBezTo>
                  <a:cubicBezTo>
                    <a:pt x="601" y="1651"/>
                    <a:pt x="549" y="1601"/>
                    <a:pt x="521" y="1528"/>
                  </a:cubicBezTo>
                  <a:cubicBezTo>
                    <a:pt x="516" y="1515"/>
                    <a:pt x="508" y="1515"/>
                    <a:pt x="498" y="1515"/>
                  </a:cubicBezTo>
                  <a:cubicBezTo>
                    <a:pt x="366" y="1516"/>
                    <a:pt x="234" y="1516"/>
                    <a:pt x="102" y="1516"/>
                  </a:cubicBezTo>
                  <a:cubicBezTo>
                    <a:pt x="35" y="1516"/>
                    <a:pt x="1" y="1481"/>
                    <a:pt x="1" y="1415"/>
                  </a:cubicBezTo>
                  <a:cubicBezTo>
                    <a:pt x="0" y="977"/>
                    <a:pt x="0" y="539"/>
                    <a:pt x="1" y="101"/>
                  </a:cubicBezTo>
                  <a:cubicBezTo>
                    <a:pt x="1" y="34"/>
                    <a:pt x="35" y="0"/>
                    <a:pt x="103" y="0"/>
                  </a:cubicBezTo>
                  <a:cubicBezTo>
                    <a:pt x="375" y="0"/>
                    <a:pt x="646" y="0"/>
                    <a:pt x="917" y="0"/>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2" name="Rectangle 266">
            <a:extLst>
              <a:ext uri="{FF2B5EF4-FFF2-40B4-BE49-F238E27FC236}">
                <a16:creationId xmlns:a16="http://schemas.microsoft.com/office/drawing/2014/main" id="{25E798BC-5BF7-42F8-8405-B668E20B8D17}"/>
              </a:ext>
            </a:extLst>
          </p:cNvPr>
          <p:cNvSpPr/>
          <p:nvPr/>
        </p:nvSpPr>
        <p:spPr bwMode="auto">
          <a:xfrm>
            <a:off x="4007090" y="2146527"/>
            <a:ext cx="634435" cy="2171442"/>
          </a:xfrm>
          <a:custGeom>
            <a:avLst/>
            <a:gdLst>
              <a:gd name="connsiteX0" fmla="*/ 0 w 7055610"/>
              <a:gd name="connsiteY0" fmla="*/ 0 h 4250800"/>
              <a:gd name="connsiteX1" fmla="*/ 7055610 w 7055610"/>
              <a:gd name="connsiteY1" fmla="*/ 0 h 4250800"/>
              <a:gd name="connsiteX2" fmla="*/ 7055610 w 7055610"/>
              <a:gd name="connsiteY2" fmla="*/ 4250800 h 4250800"/>
              <a:gd name="connsiteX3" fmla="*/ 0 w 7055610"/>
              <a:gd name="connsiteY3" fmla="*/ 4250800 h 4250800"/>
              <a:gd name="connsiteX4" fmla="*/ 0 w 7055610"/>
              <a:gd name="connsiteY4" fmla="*/ 0 h 4250800"/>
              <a:gd name="connsiteX0" fmla="*/ 7055610 w 7147050"/>
              <a:gd name="connsiteY0" fmla="*/ 4250800 h 4342240"/>
              <a:gd name="connsiteX1" fmla="*/ 0 w 7147050"/>
              <a:gd name="connsiteY1" fmla="*/ 4250800 h 4342240"/>
              <a:gd name="connsiteX2" fmla="*/ 0 w 7147050"/>
              <a:gd name="connsiteY2" fmla="*/ 0 h 4342240"/>
              <a:gd name="connsiteX3" fmla="*/ 7055610 w 7147050"/>
              <a:gd name="connsiteY3" fmla="*/ 0 h 4342240"/>
              <a:gd name="connsiteX4" fmla="*/ 7147050 w 7147050"/>
              <a:gd name="connsiteY4" fmla="*/ 4342240 h 4342240"/>
              <a:gd name="connsiteX0" fmla="*/ 7055610 w 7055610"/>
              <a:gd name="connsiteY0" fmla="*/ 4250800 h 4250800"/>
              <a:gd name="connsiteX1" fmla="*/ 0 w 7055610"/>
              <a:gd name="connsiteY1" fmla="*/ 4250800 h 4250800"/>
              <a:gd name="connsiteX2" fmla="*/ 0 w 7055610"/>
              <a:gd name="connsiteY2" fmla="*/ 0 h 4250800"/>
              <a:gd name="connsiteX3" fmla="*/ 7055610 w 7055610"/>
              <a:gd name="connsiteY3" fmla="*/ 0 h 4250800"/>
            </a:gdLst>
            <a:ahLst/>
            <a:cxnLst>
              <a:cxn ang="0">
                <a:pos x="connsiteX0" y="connsiteY0"/>
              </a:cxn>
              <a:cxn ang="0">
                <a:pos x="connsiteX1" y="connsiteY1"/>
              </a:cxn>
              <a:cxn ang="0">
                <a:pos x="connsiteX2" y="connsiteY2"/>
              </a:cxn>
              <a:cxn ang="0">
                <a:pos x="connsiteX3" y="connsiteY3"/>
              </a:cxn>
            </a:cxnLst>
            <a:rect l="l" t="t" r="r" b="b"/>
            <a:pathLst>
              <a:path w="7055610" h="4250800">
                <a:moveTo>
                  <a:pt x="7055610" y="4250800"/>
                </a:moveTo>
                <a:lnTo>
                  <a:pt x="0" y="4250800"/>
                </a:lnTo>
                <a:lnTo>
                  <a:pt x="0" y="0"/>
                </a:lnTo>
                <a:lnTo>
                  <a:pt x="7055610" y="0"/>
                </a:lnTo>
              </a:path>
            </a:pathLst>
          </a:custGeom>
          <a:noFill/>
          <a:ln w="6350" cap="flat" cmpd="sng" algn="ctr">
            <a:solidFill>
              <a:schemeClr val="accent1"/>
            </a:solidFill>
            <a:prstDash val="solid"/>
            <a:headEnd type="triangle" w="med" len="med"/>
            <a:tailEnd type="triangl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cxnSp>
        <p:nvCxnSpPr>
          <p:cNvPr id="226" name="Straight Connector 225">
            <a:extLst>
              <a:ext uri="{FF2B5EF4-FFF2-40B4-BE49-F238E27FC236}">
                <a16:creationId xmlns:a16="http://schemas.microsoft.com/office/drawing/2014/main" id="{996FFC48-21FE-420D-B4BA-0F5D72761FEE}"/>
              </a:ext>
            </a:extLst>
          </p:cNvPr>
          <p:cNvCxnSpPr>
            <a:cxnSpLocks/>
          </p:cNvCxnSpPr>
          <p:nvPr/>
        </p:nvCxnSpPr>
        <p:spPr>
          <a:xfrm flipH="1">
            <a:off x="4007091" y="3246453"/>
            <a:ext cx="634434" cy="0"/>
          </a:xfrm>
          <a:prstGeom prst="line">
            <a:avLst/>
          </a:prstGeom>
          <a:noFill/>
          <a:ln w="6350" cap="flat" cmpd="sng" algn="ctr">
            <a:solidFill>
              <a:schemeClr val="accent1"/>
            </a:solidFill>
            <a:prstDash val="solid"/>
            <a:headEnd type="triangle" w="med" len="med"/>
            <a:tailEnd type="none" w="med" len="med"/>
          </a:ln>
          <a:effectLst/>
        </p:spPr>
      </p:cxnSp>
      <p:cxnSp>
        <p:nvCxnSpPr>
          <p:cNvPr id="227" name="Straight Connector 226">
            <a:extLst>
              <a:ext uri="{FF2B5EF4-FFF2-40B4-BE49-F238E27FC236}">
                <a16:creationId xmlns:a16="http://schemas.microsoft.com/office/drawing/2014/main" id="{61815107-FFCB-4095-A438-8F814CB2ECAB}"/>
              </a:ext>
            </a:extLst>
          </p:cNvPr>
          <p:cNvCxnSpPr>
            <a:cxnSpLocks/>
          </p:cNvCxnSpPr>
          <p:nvPr/>
        </p:nvCxnSpPr>
        <p:spPr>
          <a:xfrm flipH="1">
            <a:off x="5343616" y="3246453"/>
            <a:ext cx="2655859" cy="0"/>
          </a:xfrm>
          <a:prstGeom prst="line">
            <a:avLst/>
          </a:prstGeom>
          <a:noFill/>
          <a:ln w="6350" cap="flat" cmpd="sng" algn="ctr">
            <a:solidFill>
              <a:schemeClr val="accent1"/>
            </a:solidFill>
            <a:prstDash val="solid"/>
            <a:headEnd type="triangle" w="med" len="med"/>
            <a:tailEnd type="none" w="med" len="med"/>
          </a:ln>
          <a:effectLst/>
        </p:spPr>
      </p:cxnSp>
      <p:cxnSp>
        <p:nvCxnSpPr>
          <p:cNvPr id="229" name="Straight Connector 228">
            <a:extLst>
              <a:ext uri="{FF2B5EF4-FFF2-40B4-BE49-F238E27FC236}">
                <a16:creationId xmlns:a16="http://schemas.microsoft.com/office/drawing/2014/main" id="{AC2C0035-78CC-4881-9A58-018B107001F3}"/>
              </a:ext>
            </a:extLst>
          </p:cNvPr>
          <p:cNvCxnSpPr>
            <a:cxnSpLocks/>
          </p:cNvCxnSpPr>
          <p:nvPr/>
        </p:nvCxnSpPr>
        <p:spPr>
          <a:xfrm flipH="1">
            <a:off x="5395907" y="2146527"/>
            <a:ext cx="634434" cy="0"/>
          </a:xfrm>
          <a:prstGeom prst="line">
            <a:avLst/>
          </a:prstGeom>
          <a:noFill/>
          <a:ln w="6350" cap="flat" cmpd="sng" algn="ctr">
            <a:solidFill>
              <a:schemeClr val="accent1"/>
            </a:solidFill>
            <a:prstDash val="solid"/>
            <a:headEnd type="triangle" w="med" len="med"/>
            <a:tailEnd type="none" w="med" len="med"/>
          </a:ln>
          <a:effectLst/>
        </p:spPr>
      </p:cxnSp>
      <p:cxnSp>
        <p:nvCxnSpPr>
          <p:cNvPr id="230" name="Straight Connector 229">
            <a:extLst>
              <a:ext uri="{FF2B5EF4-FFF2-40B4-BE49-F238E27FC236}">
                <a16:creationId xmlns:a16="http://schemas.microsoft.com/office/drawing/2014/main" id="{3E60D89D-A78C-4198-851F-6BE40C96E777}"/>
              </a:ext>
            </a:extLst>
          </p:cNvPr>
          <p:cNvCxnSpPr>
            <a:cxnSpLocks/>
          </p:cNvCxnSpPr>
          <p:nvPr/>
        </p:nvCxnSpPr>
        <p:spPr>
          <a:xfrm>
            <a:off x="6499209" y="4932757"/>
            <a:ext cx="634434" cy="0"/>
          </a:xfrm>
          <a:prstGeom prst="line">
            <a:avLst/>
          </a:prstGeom>
          <a:noFill/>
          <a:ln w="6350" cap="flat" cmpd="sng" algn="ctr">
            <a:solidFill>
              <a:schemeClr val="accent1"/>
            </a:solidFill>
            <a:prstDash val="solid"/>
            <a:headEnd type="triangle" w="med" len="med"/>
            <a:tailEnd type="none" w="med" len="med"/>
          </a:ln>
          <a:effectLst/>
        </p:spPr>
      </p:cxnSp>
      <p:sp>
        <p:nvSpPr>
          <p:cNvPr id="232" name="Rectangle 266">
            <a:extLst>
              <a:ext uri="{FF2B5EF4-FFF2-40B4-BE49-F238E27FC236}">
                <a16:creationId xmlns:a16="http://schemas.microsoft.com/office/drawing/2014/main" id="{D2ED3E75-57F2-4337-9FE5-9B646E4585A9}"/>
              </a:ext>
            </a:extLst>
          </p:cNvPr>
          <p:cNvSpPr/>
          <p:nvPr/>
        </p:nvSpPr>
        <p:spPr bwMode="auto">
          <a:xfrm rot="16200000">
            <a:off x="4158830" y="3346187"/>
            <a:ext cx="1001696" cy="2171442"/>
          </a:xfrm>
          <a:custGeom>
            <a:avLst/>
            <a:gdLst>
              <a:gd name="connsiteX0" fmla="*/ 0 w 7055610"/>
              <a:gd name="connsiteY0" fmla="*/ 0 h 4250800"/>
              <a:gd name="connsiteX1" fmla="*/ 7055610 w 7055610"/>
              <a:gd name="connsiteY1" fmla="*/ 0 h 4250800"/>
              <a:gd name="connsiteX2" fmla="*/ 7055610 w 7055610"/>
              <a:gd name="connsiteY2" fmla="*/ 4250800 h 4250800"/>
              <a:gd name="connsiteX3" fmla="*/ 0 w 7055610"/>
              <a:gd name="connsiteY3" fmla="*/ 4250800 h 4250800"/>
              <a:gd name="connsiteX4" fmla="*/ 0 w 7055610"/>
              <a:gd name="connsiteY4" fmla="*/ 0 h 4250800"/>
              <a:gd name="connsiteX0" fmla="*/ 7055610 w 7147050"/>
              <a:gd name="connsiteY0" fmla="*/ 4250800 h 4342240"/>
              <a:gd name="connsiteX1" fmla="*/ 0 w 7147050"/>
              <a:gd name="connsiteY1" fmla="*/ 4250800 h 4342240"/>
              <a:gd name="connsiteX2" fmla="*/ 0 w 7147050"/>
              <a:gd name="connsiteY2" fmla="*/ 0 h 4342240"/>
              <a:gd name="connsiteX3" fmla="*/ 7055610 w 7147050"/>
              <a:gd name="connsiteY3" fmla="*/ 0 h 4342240"/>
              <a:gd name="connsiteX4" fmla="*/ 7147050 w 7147050"/>
              <a:gd name="connsiteY4" fmla="*/ 4342240 h 4342240"/>
              <a:gd name="connsiteX0" fmla="*/ 7055610 w 7055610"/>
              <a:gd name="connsiteY0" fmla="*/ 4250800 h 4250800"/>
              <a:gd name="connsiteX1" fmla="*/ 0 w 7055610"/>
              <a:gd name="connsiteY1" fmla="*/ 4250800 h 4250800"/>
              <a:gd name="connsiteX2" fmla="*/ 0 w 7055610"/>
              <a:gd name="connsiteY2" fmla="*/ 0 h 4250800"/>
              <a:gd name="connsiteX3" fmla="*/ 7055610 w 7055610"/>
              <a:gd name="connsiteY3" fmla="*/ 0 h 4250800"/>
              <a:gd name="connsiteX0" fmla="*/ 0 w 7055610"/>
              <a:gd name="connsiteY0" fmla="*/ 4250800 h 4250800"/>
              <a:gd name="connsiteX1" fmla="*/ 0 w 7055610"/>
              <a:gd name="connsiteY1" fmla="*/ 0 h 4250800"/>
              <a:gd name="connsiteX2" fmla="*/ 7055610 w 7055610"/>
              <a:gd name="connsiteY2" fmla="*/ 0 h 4250800"/>
            </a:gdLst>
            <a:ahLst/>
            <a:cxnLst>
              <a:cxn ang="0">
                <a:pos x="connsiteX0" y="connsiteY0"/>
              </a:cxn>
              <a:cxn ang="0">
                <a:pos x="connsiteX1" y="connsiteY1"/>
              </a:cxn>
              <a:cxn ang="0">
                <a:pos x="connsiteX2" y="connsiteY2"/>
              </a:cxn>
            </a:cxnLst>
            <a:rect l="l" t="t" r="r" b="b"/>
            <a:pathLst>
              <a:path w="7055610" h="4250800">
                <a:moveTo>
                  <a:pt x="0" y="4250800"/>
                </a:moveTo>
                <a:lnTo>
                  <a:pt x="0" y="0"/>
                </a:lnTo>
                <a:lnTo>
                  <a:pt x="7055610" y="0"/>
                </a:lnTo>
              </a:path>
            </a:pathLst>
          </a:custGeom>
          <a:noFill/>
          <a:ln w="6350" cap="flat" cmpd="sng" algn="ctr">
            <a:solidFill>
              <a:schemeClr val="accent1"/>
            </a:solidFill>
            <a:prstDash val="solid"/>
            <a:headEnd type="none" w="med" len="med"/>
            <a:tailEnd type="triangl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235" name="Rectangle 266">
            <a:extLst>
              <a:ext uri="{FF2B5EF4-FFF2-40B4-BE49-F238E27FC236}">
                <a16:creationId xmlns:a16="http://schemas.microsoft.com/office/drawing/2014/main" id="{24C14B21-B5D6-4ECC-A231-9B4C77938A13}"/>
              </a:ext>
            </a:extLst>
          </p:cNvPr>
          <p:cNvSpPr/>
          <p:nvPr/>
        </p:nvSpPr>
        <p:spPr bwMode="auto">
          <a:xfrm>
            <a:off x="8071538" y="1870186"/>
            <a:ext cx="634435" cy="2491035"/>
          </a:xfrm>
          <a:custGeom>
            <a:avLst/>
            <a:gdLst>
              <a:gd name="connsiteX0" fmla="*/ 0 w 7055610"/>
              <a:gd name="connsiteY0" fmla="*/ 0 h 4250800"/>
              <a:gd name="connsiteX1" fmla="*/ 7055610 w 7055610"/>
              <a:gd name="connsiteY1" fmla="*/ 0 h 4250800"/>
              <a:gd name="connsiteX2" fmla="*/ 7055610 w 7055610"/>
              <a:gd name="connsiteY2" fmla="*/ 4250800 h 4250800"/>
              <a:gd name="connsiteX3" fmla="*/ 0 w 7055610"/>
              <a:gd name="connsiteY3" fmla="*/ 4250800 h 4250800"/>
              <a:gd name="connsiteX4" fmla="*/ 0 w 7055610"/>
              <a:gd name="connsiteY4" fmla="*/ 0 h 4250800"/>
              <a:gd name="connsiteX0" fmla="*/ 7055610 w 7147050"/>
              <a:gd name="connsiteY0" fmla="*/ 4250800 h 4342240"/>
              <a:gd name="connsiteX1" fmla="*/ 0 w 7147050"/>
              <a:gd name="connsiteY1" fmla="*/ 4250800 h 4342240"/>
              <a:gd name="connsiteX2" fmla="*/ 0 w 7147050"/>
              <a:gd name="connsiteY2" fmla="*/ 0 h 4342240"/>
              <a:gd name="connsiteX3" fmla="*/ 7055610 w 7147050"/>
              <a:gd name="connsiteY3" fmla="*/ 0 h 4342240"/>
              <a:gd name="connsiteX4" fmla="*/ 7147050 w 7147050"/>
              <a:gd name="connsiteY4" fmla="*/ 4342240 h 4342240"/>
              <a:gd name="connsiteX0" fmla="*/ 7055610 w 7055610"/>
              <a:gd name="connsiteY0" fmla="*/ 4250800 h 4250800"/>
              <a:gd name="connsiteX1" fmla="*/ 0 w 7055610"/>
              <a:gd name="connsiteY1" fmla="*/ 4250800 h 4250800"/>
              <a:gd name="connsiteX2" fmla="*/ 0 w 7055610"/>
              <a:gd name="connsiteY2" fmla="*/ 0 h 4250800"/>
              <a:gd name="connsiteX3" fmla="*/ 7055610 w 7055610"/>
              <a:gd name="connsiteY3" fmla="*/ 0 h 4250800"/>
            </a:gdLst>
            <a:ahLst/>
            <a:cxnLst>
              <a:cxn ang="0">
                <a:pos x="connsiteX0" y="connsiteY0"/>
              </a:cxn>
              <a:cxn ang="0">
                <a:pos x="connsiteX1" y="connsiteY1"/>
              </a:cxn>
              <a:cxn ang="0">
                <a:pos x="connsiteX2" y="connsiteY2"/>
              </a:cxn>
              <a:cxn ang="0">
                <a:pos x="connsiteX3" y="connsiteY3"/>
              </a:cxn>
            </a:cxnLst>
            <a:rect l="l" t="t" r="r" b="b"/>
            <a:pathLst>
              <a:path w="7055610" h="4250800">
                <a:moveTo>
                  <a:pt x="7055610" y="4250800"/>
                </a:moveTo>
                <a:lnTo>
                  <a:pt x="0" y="4250800"/>
                </a:lnTo>
                <a:lnTo>
                  <a:pt x="0" y="0"/>
                </a:lnTo>
                <a:lnTo>
                  <a:pt x="7055610" y="0"/>
                </a:lnTo>
              </a:path>
            </a:pathLst>
          </a:custGeom>
          <a:noFill/>
          <a:ln w="6350" cap="flat" cmpd="sng" algn="ctr">
            <a:solidFill>
              <a:schemeClr val="accent1"/>
            </a:solidFill>
            <a:prstDash val="solid"/>
            <a:headEnd type="triangle" w="med" len="med"/>
            <a:tailEnd type="triangl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236" name="Rectangle 180">
            <a:extLst>
              <a:ext uri="{FF2B5EF4-FFF2-40B4-BE49-F238E27FC236}">
                <a16:creationId xmlns:a16="http://schemas.microsoft.com/office/drawing/2014/main" id="{83B86DCC-44A1-4CCA-BFEC-24BD829FD45E}"/>
              </a:ext>
            </a:extLst>
          </p:cNvPr>
          <p:cNvSpPr>
            <a:spLocks noChangeArrowheads="1"/>
          </p:cNvSpPr>
          <p:nvPr/>
        </p:nvSpPr>
        <p:spPr bwMode="auto">
          <a:xfrm>
            <a:off x="3331159" y="3499945"/>
            <a:ext cx="4760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Service</a:t>
            </a:r>
            <a:br>
              <a:rPr kumimoji="0" lang="en-US" altLang="en-US" sz="1200" b="0" i="0" u="none" strike="noStrike" kern="0" cap="none" spc="0" normalizeH="0" baseline="0" noProof="0">
                <a:ln>
                  <a:noFill/>
                </a:ln>
                <a:solidFill>
                  <a:srgbClr val="1A1A1A"/>
                </a:solidFill>
                <a:effectLst/>
                <a:uLnTx/>
                <a:uFillTx/>
                <a:latin typeface="Segoe UI"/>
                <a:ea typeface="+mn-ea"/>
                <a:cs typeface="+mn-cs"/>
              </a:rPr>
            </a:br>
            <a:r>
              <a:rPr kumimoji="0" lang="en-US" altLang="en-US" sz="1200" b="0" i="0" u="none" strike="noStrike" kern="0" cap="none" spc="0" normalizeH="0" baseline="0" noProof="0">
                <a:ln>
                  <a:noFill/>
                </a:ln>
                <a:solidFill>
                  <a:srgbClr val="1A1A1A"/>
                </a:solidFill>
                <a:effectLst/>
                <a:uLnTx/>
                <a:uFillTx/>
                <a:latin typeface="Segoe UI"/>
                <a:ea typeface="+mn-ea"/>
                <a:cs typeface="+mn-cs"/>
              </a:rPr>
              <a:t>Bus</a:t>
            </a:r>
            <a:endParaRPr kumimoji="0" lang="en-US" altLang="en-US" sz="2000" b="0" i="0" u="none" strike="noStrike" kern="0" cap="none" spc="0" normalizeH="0" baseline="0" noProof="0">
              <a:ln>
                <a:noFill/>
              </a:ln>
              <a:solidFill>
                <a:srgbClr val="1A1A1A"/>
              </a:solidFill>
              <a:effectLst/>
              <a:uLnTx/>
              <a:uFillTx/>
              <a:latin typeface="Segoe UI"/>
              <a:ea typeface="+mn-ea"/>
              <a:cs typeface="+mn-cs"/>
            </a:endParaRPr>
          </a:p>
        </p:txBody>
      </p:sp>
      <p:sp>
        <p:nvSpPr>
          <p:cNvPr id="237" name="Rectangle 180">
            <a:extLst>
              <a:ext uri="{FF2B5EF4-FFF2-40B4-BE49-F238E27FC236}">
                <a16:creationId xmlns:a16="http://schemas.microsoft.com/office/drawing/2014/main" id="{001CFF80-4B76-4415-87C2-F66FC3F76215}"/>
              </a:ext>
            </a:extLst>
          </p:cNvPr>
          <p:cNvSpPr>
            <a:spLocks noChangeArrowheads="1"/>
          </p:cNvSpPr>
          <p:nvPr/>
        </p:nvSpPr>
        <p:spPr bwMode="auto">
          <a:xfrm>
            <a:off x="4311417" y="2539934"/>
            <a:ext cx="15372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err="1">
                <a:ln>
                  <a:noFill/>
                </a:ln>
                <a:solidFill>
                  <a:srgbClr val="1A1A1A"/>
                </a:solidFill>
                <a:effectLst/>
                <a:uLnTx/>
                <a:uFillTx/>
                <a:latin typeface="Segoe UI"/>
                <a:ea typeface="+mn-ea"/>
                <a:cs typeface="+mn-cs"/>
              </a:rPr>
              <a:t>DLT</a:t>
            </a:r>
            <a:r>
              <a:rPr kumimoji="0" lang="en-US" altLang="en-US" sz="1200" b="0" i="0" u="none" strike="noStrike" kern="0" cap="none" spc="0" normalizeH="0" baseline="0" noProof="0">
                <a:ln>
                  <a:noFill/>
                </a:ln>
                <a:solidFill>
                  <a:srgbClr val="1A1A1A"/>
                </a:solidFill>
                <a:effectLst/>
                <a:uLnTx/>
                <a:uFillTx/>
                <a:latin typeface="Segoe UI"/>
                <a:ea typeface="+mn-ea"/>
                <a:cs typeface="+mn-cs"/>
              </a:rPr>
              <a:t> Services</a:t>
            </a:r>
            <a:br>
              <a:rPr kumimoji="0" lang="en-US" altLang="en-US" sz="1200" b="0" i="0" u="none" strike="noStrike" kern="0" cap="none" spc="0" normalizeH="0" baseline="0" noProof="0">
                <a:ln>
                  <a:noFill/>
                </a:ln>
                <a:solidFill>
                  <a:srgbClr val="1A1A1A"/>
                </a:solidFill>
                <a:effectLst/>
                <a:uLnTx/>
                <a:uFillTx/>
                <a:latin typeface="Segoe UI"/>
                <a:ea typeface="+mn-ea"/>
                <a:cs typeface="+mn-cs"/>
              </a:rPr>
            </a:br>
            <a:r>
              <a:rPr kumimoji="0" lang="en-US" altLang="en-US" sz="1200" b="0" i="0" u="none" strike="noStrike" kern="0" cap="none" spc="0" normalizeH="0" baseline="0" noProof="0">
                <a:ln>
                  <a:noFill/>
                </a:ln>
                <a:solidFill>
                  <a:srgbClr val="1A1A1A"/>
                </a:solidFill>
                <a:effectLst/>
                <a:uLnTx/>
                <a:uFillTx/>
                <a:latin typeface="Segoe UI"/>
                <a:ea typeface="+mn-ea"/>
                <a:cs typeface="+mn-cs"/>
              </a:rPr>
              <a:t>(API, Hashing, Signing)</a:t>
            </a:r>
          </a:p>
        </p:txBody>
      </p:sp>
      <p:sp>
        <p:nvSpPr>
          <p:cNvPr id="238" name="Rectangle 180">
            <a:extLst>
              <a:ext uri="{FF2B5EF4-FFF2-40B4-BE49-F238E27FC236}">
                <a16:creationId xmlns:a16="http://schemas.microsoft.com/office/drawing/2014/main" id="{5ABD56C7-B499-4A45-B6BA-55608EBC251A}"/>
              </a:ext>
            </a:extLst>
          </p:cNvPr>
          <p:cNvSpPr>
            <a:spLocks noChangeArrowheads="1"/>
          </p:cNvSpPr>
          <p:nvPr/>
        </p:nvSpPr>
        <p:spPr bwMode="auto">
          <a:xfrm>
            <a:off x="6041320" y="2539934"/>
            <a:ext cx="123110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Blockchain Ledger</a:t>
            </a:r>
          </a:p>
        </p:txBody>
      </p:sp>
      <p:sp>
        <p:nvSpPr>
          <p:cNvPr id="241" name="Rectangle 180">
            <a:extLst>
              <a:ext uri="{FF2B5EF4-FFF2-40B4-BE49-F238E27FC236}">
                <a16:creationId xmlns:a16="http://schemas.microsoft.com/office/drawing/2014/main" id="{5474BC78-6F34-46C6-AA76-227594DD20BD}"/>
              </a:ext>
            </a:extLst>
          </p:cNvPr>
          <p:cNvSpPr>
            <a:spLocks noChangeArrowheads="1"/>
          </p:cNvSpPr>
          <p:nvPr/>
        </p:nvSpPr>
        <p:spPr bwMode="auto">
          <a:xfrm>
            <a:off x="4638847" y="3600710"/>
            <a:ext cx="8928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Off-Chain DB</a:t>
            </a:r>
          </a:p>
        </p:txBody>
      </p:sp>
      <p:sp>
        <p:nvSpPr>
          <p:cNvPr id="242" name="Rectangle 180">
            <a:extLst>
              <a:ext uri="{FF2B5EF4-FFF2-40B4-BE49-F238E27FC236}">
                <a16:creationId xmlns:a16="http://schemas.microsoft.com/office/drawing/2014/main" id="{3665CF13-45BD-47D1-88DA-BBA828A2BBD1}"/>
              </a:ext>
            </a:extLst>
          </p:cNvPr>
          <p:cNvSpPr>
            <a:spLocks noChangeArrowheads="1"/>
          </p:cNvSpPr>
          <p:nvPr/>
        </p:nvSpPr>
        <p:spPr bwMode="auto">
          <a:xfrm>
            <a:off x="4472936" y="4582127"/>
            <a:ext cx="12246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Off-Chain Storage</a:t>
            </a:r>
          </a:p>
        </p:txBody>
      </p:sp>
      <p:sp>
        <p:nvSpPr>
          <p:cNvPr id="243" name="Rectangle 180">
            <a:extLst>
              <a:ext uri="{FF2B5EF4-FFF2-40B4-BE49-F238E27FC236}">
                <a16:creationId xmlns:a16="http://schemas.microsoft.com/office/drawing/2014/main" id="{F5AD2A1E-B473-4624-A2F8-ED8728D4D1C5}"/>
              </a:ext>
            </a:extLst>
          </p:cNvPr>
          <p:cNvSpPr>
            <a:spLocks noChangeArrowheads="1"/>
          </p:cNvSpPr>
          <p:nvPr/>
        </p:nvSpPr>
        <p:spPr bwMode="auto">
          <a:xfrm>
            <a:off x="5594498" y="5239241"/>
            <a:ext cx="10804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zure Functions</a:t>
            </a:r>
          </a:p>
        </p:txBody>
      </p:sp>
      <p:sp>
        <p:nvSpPr>
          <p:cNvPr id="244" name="Rectangle 180">
            <a:extLst>
              <a:ext uri="{FF2B5EF4-FFF2-40B4-BE49-F238E27FC236}">
                <a16:creationId xmlns:a16="http://schemas.microsoft.com/office/drawing/2014/main" id="{DAEAA61F-F298-42D1-9D56-E8621BC9ADC3}"/>
              </a:ext>
            </a:extLst>
          </p:cNvPr>
          <p:cNvSpPr>
            <a:spLocks noChangeArrowheads="1"/>
          </p:cNvSpPr>
          <p:nvPr/>
        </p:nvSpPr>
        <p:spPr bwMode="auto">
          <a:xfrm>
            <a:off x="7034779" y="5239241"/>
            <a:ext cx="10291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Reference Data</a:t>
            </a:r>
          </a:p>
        </p:txBody>
      </p:sp>
      <p:sp>
        <p:nvSpPr>
          <p:cNvPr id="247" name="Rectangle 180">
            <a:extLst>
              <a:ext uri="{FF2B5EF4-FFF2-40B4-BE49-F238E27FC236}">
                <a16:creationId xmlns:a16="http://schemas.microsoft.com/office/drawing/2014/main" id="{EF42FE08-D406-44FA-966C-28BD7A062C1B}"/>
              </a:ext>
            </a:extLst>
          </p:cNvPr>
          <p:cNvSpPr>
            <a:spLocks noChangeArrowheads="1"/>
          </p:cNvSpPr>
          <p:nvPr/>
        </p:nvSpPr>
        <p:spPr bwMode="auto">
          <a:xfrm>
            <a:off x="8799241" y="2158301"/>
            <a:ext cx="5915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Power BI</a:t>
            </a:r>
          </a:p>
        </p:txBody>
      </p:sp>
      <p:sp>
        <p:nvSpPr>
          <p:cNvPr id="248" name="Rectangle 180">
            <a:extLst>
              <a:ext uri="{FF2B5EF4-FFF2-40B4-BE49-F238E27FC236}">
                <a16:creationId xmlns:a16="http://schemas.microsoft.com/office/drawing/2014/main" id="{7BE5FB7F-4C65-4EC3-A0B5-179DC7006E3B}"/>
              </a:ext>
            </a:extLst>
          </p:cNvPr>
          <p:cNvSpPr>
            <a:spLocks noChangeArrowheads="1"/>
          </p:cNvSpPr>
          <p:nvPr/>
        </p:nvSpPr>
        <p:spPr bwMode="auto">
          <a:xfrm>
            <a:off x="8948320" y="3016669"/>
            <a:ext cx="2933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APIs</a:t>
            </a:r>
          </a:p>
        </p:txBody>
      </p:sp>
      <p:sp>
        <p:nvSpPr>
          <p:cNvPr id="249" name="Rectangle 180">
            <a:extLst>
              <a:ext uri="{FF2B5EF4-FFF2-40B4-BE49-F238E27FC236}">
                <a16:creationId xmlns:a16="http://schemas.microsoft.com/office/drawing/2014/main" id="{20C673D2-98C5-433B-AD2F-2A90B2FFE5DF}"/>
              </a:ext>
            </a:extLst>
          </p:cNvPr>
          <p:cNvSpPr>
            <a:spLocks noChangeArrowheads="1"/>
          </p:cNvSpPr>
          <p:nvPr/>
        </p:nvSpPr>
        <p:spPr bwMode="auto">
          <a:xfrm>
            <a:off x="8721494" y="3831084"/>
            <a:ext cx="747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Logic Apps</a:t>
            </a:r>
          </a:p>
        </p:txBody>
      </p:sp>
      <p:sp>
        <p:nvSpPr>
          <p:cNvPr id="250" name="Rectangle 180">
            <a:extLst>
              <a:ext uri="{FF2B5EF4-FFF2-40B4-BE49-F238E27FC236}">
                <a16:creationId xmlns:a16="http://schemas.microsoft.com/office/drawing/2014/main" id="{1C43672F-6A17-4106-A6DC-5E46E9E0B792}"/>
              </a:ext>
            </a:extLst>
          </p:cNvPr>
          <p:cNvSpPr>
            <a:spLocks noChangeArrowheads="1"/>
          </p:cNvSpPr>
          <p:nvPr/>
        </p:nvSpPr>
        <p:spPr bwMode="auto">
          <a:xfrm>
            <a:off x="8745540" y="4655226"/>
            <a:ext cx="6989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78559"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1A1A1A"/>
                </a:solidFill>
                <a:effectLst/>
                <a:uLnTx/>
                <a:uFillTx/>
                <a:latin typeface="Segoe UI"/>
                <a:ea typeface="+mn-ea"/>
                <a:cs typeface="+mn-cs"/>
              </a:rPr>
              <a:t>Event Grid</a:t>
            </a:r>
          </a:p>
        </p:txBody>
      </p:sp>
      <p:grpSp>
        <p:nvGrpSpPr>
          <p:cNvPr id="114" name="Group 113">
            <a:extLst>
              <a:ext uri="{FF2B5EF4-FFF2-40B4-BE49-F238E27FC236}">
                <a16:creationId xmlns:a16="http://schemas.microsoft.com/office/drawing/2014/main" id="{E23A9846-A880-4F2D-AEDF-E0231385B036}"/>
              </a:ext>
            </a:extLst>
          </p:cNvPr>
          <p:cNvGrpSpPr/>
          <p:nvPr/>
        </p:nvGrpSpPr>
        <p:grpSpPr>
          <a:xfrm>
            <a:off x="8868867" y="1722944"/>
            <a:ext cx="452255" cy="344065"/>
            <a:chOff x="10393363" y="8712200"/>
            <a:chExt cx="1141413" cy="868363"/>
          </a:xfrm>
          <a:solidFill>
            <a:schemeClr val="accent1"/>
          </a:solidFill>
        </p:grpSpPr>
        <p:sp>
          <p:nvSpPr>
            <p:cNvPr id="123" name="Freeform 7">
              <a:extLst>
                <a:ext uri="{FF2B5EF4-FFF2-40B4-BE49-F238E27FC236}">
                  <a16:creationId xmlns:a16="http://schemas.microsoft.com/office/drawing/2014/main" id="{631C25A0-71D4-42DE-8D13-AF3AAE29A9BB}"/>
                </a:ext>
              </a:extLst>
            </p:cNvPr>
            <p:cNvSpPr>
              <a:spLocks/>
            </p:cNvSpPr>
            <p:nvPr/>
          </p:nvSpPr>
          <p:spPr bwMode="auto">
            <a:xfrm>
              <a:off x="10393363" y="8712200"/>
              <a:ext cx="1141413" cy="762000"/>
            </a:xfrm>
            <a:custGeom>
              <a:avLst/>
              <a:gdLst>
                <a:gd name="T0" fmla="*/ 73 w 528"/>
                <a:gd name="T1" fmla="*/ 326 h 352"/>
                <a:gd name="T2" fmla="*/ 73 w 528"/>
                <a:gd name="T3" fmla="*/ 344 h 352"/>
                <a:gd name="T4" fmla="*/ 3 w 528"/>
                <a:gd name="T5" fmla="*/ 300 h 352"/>
                <a:gd name="T6" fmla="*/ 1 w 528"/>
                <a:gd name="T7" fmla="*/ 280 h 352"/>
                <a:gd name="T8" fmla="*/ 1 w 528"/>
                <a:gd name="T9" fmla="*/ 66 h 352"/>
                <a:gd name="T10" fmla="*/ 66 w 528"/>
                <a:gd name="T11" fmla="*/ 0 h 352"/>
                <a:gd name="T12" fmla="*/ 461 w 528"/>
                <a:gd name="T13" fmla="*/ 0 h 352"/>
                <a:gd name="T14" fmla="*/ 528 w 528"/>
                <a:gd name="T15" fmla="*/ 67 h 352"/>
                <a:gd name="T16" fmla="*/ 528 w 528"/>
                <a:gd name="T17" fmla="*/ 281 h 352"/>
                <a:gd name="T18" fmla="*/ 456 w 528"/>
                <a:gd name="T19" fmla="*/ 345 h 352"/>
                <a:gd name="T20" fmla="*/ 456 w 528"/>
                <a:gd name="T21" fmla="*/ 335 h 352"/>
                <a:gd name="T22" fmla="*/ 456 w 528"/>
                <a:gd name="T23" fmla="*/ 326 h 352"/>
                <a:gd name="T24" fmla="*/ 466 w 528"/>
                <a:gd name="T25" fmla="*/ 325 h 352"/>
                <a:gd name="T26" fmla="*/ 507 w 528"/>
                <a:gd name="T27" fmla="*/ 283 h 352"/>
                <a:gd name="T28" fmla="*/ 507 w 528"/>
                <a:gd name="T29" fmla="*/ 64 h 352"/>
                <a:gd name="T30" fmla="*/ 464 w 528"/>
                <a:gd name="T31" fmla="*/ 21 h 352"/>
                <a:gd name="T32" fmla="*/ 224 w 528"/>
                <a:gd name="T33" fmla="*/ 21 h 352"/>
                <a:gd name="T34" fmla="*/ 67 w 528"/>
                <a:gd name="T35" fmla="*/ 21 h 352"/>
                <a:gd name="T36" fmla="*/ 21 w 528"/>
                <a:gd name="T37" fmla="*/ 67 h 352"/>
                <a:gd name="T38" fmla="*/ 21 w 528"/>
                <a:gd name="T39" fmla="*/ 276 h 352"/>
                <a:gd name="T40" fmla="*/ 68 w 528"/>
                <a:gd name="T41" fmla="*/ 325 h 352"/>
                <a:gd name="T42" fmla="*/ 73 w 528"/>
                <a:gd name="T43" fmla="*/ 32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8" h="352">
                  <a:moveTo>
                    <a:pt x="73" y="326"/>
                  </a:moveTo>
                  <a:cubicBezTo>
                    <a:pt x="73" y="332"/>
                    <a:pt x="73" y="338"/>
                    <a:pt x="73" y="344"/>
                  </a:cubicBezTo>
                  <a:cubicBezTo>
                    <a:pt x="45" y="352"/>
                    <a:pt x="11" y="331"/>
                    <a:pt x="3" y="300"/>
                  </a:cubicBezTo>
                  <a:cubicBezTo>
                    <a:pt x="2" y="294"/>
                    <a:pt x="1" y="287"/>
                    <a:pt x="1" y="280"/>
                  </a:cubicBezTo>
                  <a:cubicBezTo>
                    <a:pt x="0" y="209"/>
                    <a:pt x="0" y="137"/>
                    <a:pt x="1" y="66"/>
                  </a:cubicBezTo>
                  <a:cubicBezTo>
                    <a:pt x="1" y="26"/>
                    <a:pt x="27" y="0"/>
                    <a:pt x="66" y="0"/>
                  </a:cubicBezTo>
                  <a:cubicBezTo>
                    <a:pt x="198" y="0"/>
                    <a:pt x="330" y="0"/>
                    <a:pt x="461" y="0"/>
                  </a:cubicBezTo>
                  <a:cubicBezTo>
                    <a:pt x="501" y="0"/>
                    <a:pt x="528" y="26"/>
                    <a:pt x="528" y="67"/>
                  </a:cubicBezTo>
                  <a:cubicBezTo>
                    <a:pt x="528" y="138"/>
                    <a:pt x="528" y="210"/>
                    <a:pt x="528" y="281"/>
                  </a:cubicBezTo>
                  <a:cubicBezTo>
                    <a:pt x="528" y="321"/>
                    <a:pt x="496" y="350"/>
                    <a:pt x="456" y="345"/>
                  </a:cubicBezTo>
                  <a:cubicBezTo>
                    <a:pt x="456" y="342"/>
                    <a:pt x="456" y="339"/>
                    <a:pt x="456" y="335"/>
                  </a:cubicBezTo>
                  <a:cubicBezTo>
                    <a:pt x="456" y="332"/>
                    <a:pt x="456" y="329"/>
                    <a:pt x="456" y="326"/>
                  </a:cubicBezTo>
                  <a:cubicBezTo>
                    <a:pt x="460" y="325"/>
                    <a:pt x="463" y="325"/>
                    <a:pt x="466" y="325"/>
                  </a:cubicBezTo>
                  <a:cubicBezTo>
                    <a:pt x="490" y="324"/>
                    <a:pt x="507" y="307"/>
                    <a:pt x="507" y="283"/>
                  </a:cubicBezTo>
                  <a:cubicBezTo>
                    <a:pt x="507" y="210"/>
                    <a:pt x="507" y="137"/>
                    <a:pt x="507" y="64"/>
                  </a:cubicBezTo>
                  <a:cubicBezTo>
                    <a:pt x="507" y="38"/>
                    <a:pt x="490" y="21"/>
                    <a:pt x="464" y="21"/>
                  </a:cubicBezTo>
                  <a:cubicBezTo>
                    <a:pt x="384" y="21"/>
                    <a:pt x="304" y="21"/>
                    <a:pt x="224" y="21"/>
                  </a:cubicBezTo>
                  <a:cubicBezTo>
                    <a:pt x="172" y="21"/>
                    <a:pt x="120" y="21"/>
                    <a:pt x="67" y="21"/>
                  </a:cubicBezTo>
                  <a:cubicBezTo>
                    <a:pt x="37" y="21"/>
                    <a:pt x="21" y="37"/>
                    <a:pt x="21" y="67"/>
                  </a:cubicBezTo>
                  <a:cubicBezTo>
                    <a:pt x="21" y="136"/>
                    <a:pt x="21" y="206"/>
                    <a:pt x="21" y="276"/>
                  </a:cubicBezTo>
                  <a:cubicBezTo>
                    <a:pt x="21" y="309"/>
                    <a:pt x="35" y="324"/>
                    <a:pt x="68" y="325"/>
                  </a:cubicBezTo>
                  <a:cubicBezTo>
                    <a:pt x="70" y="325"/>
                    <a:pt x="71" y="326"/>
                    <a:pt x="73"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8">
              <a:extLst>
                <a:ext uri="{FF2B5EF4-FFF2-40B4-BE49-F238E27FC236}">
                  <a16:creationId xmlns:a16="http://schemas.microsoft.com/office/drawing/2014/main" id="{B97E5549-901E-4763-B572-C6C9B9BE30F2}"/>
                </a:ext>
              </a:extLst>
            </p:cNvPr>
            <p:cNvSpPr>
              <a:spLocks/>
            </p:cNvSpPr>
            <p:nvPr/>
          </p:nvSpPr>
          <p:spPr bwMode="auto">
            <a:xfrm>
              <a:off x="11195051" y="8916988"/>
              <a:ext cx="122238" cy="663575"/>
            </a:xfrm>
            <a:custGeom>
              <a:avLst/>
              <a:gdLst>
                <a:gd name="T0" fmla="*/ 57 w 57"/>
                <a:gd name="T1" fmla="*/ 152 h 306"/>
                <a:gd name="T2" fmla="*/ 57 w 57"/>
                <a:gd name="T3" fmla="*/ 274 h 306"/>
                <a:gd name="T4" fmla="*/ 41 w 57"/>
                <a:gd name="T5" fmla="*/ 300 h 306"/>
                <a:gd name="T6" fmla="*/ 12 w 57"/>
                <a:gd name="T7" fmla="*/ 298 h 306"/>
                <a:gd name="T8" fmla="*/ 0 w 57"/>
                <a:gd name="T9" fmla="*/ 273 h 306"/>
                <a:gd name="T10" fmla="*/ 0 w 57"/>
                <a:gd name="T11" fmla="*/ 30 h 306"/>
                <a:gd name="T12" fmla="*/ 29 w 57"/>
                <a:gd name="T13" fmla="*/ 0 h 306"/>
                <a:gd name="T14" fmla="*/ 57 w 57"/>
                <a:gd name="T15" fmla="*/ 30 h 306"/>
                <a:gd name="T16" fmla="*/ 57 w 57"/>
                <a:gd name="T17" fmla="*/ 15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06">
                  <a:moveTo>
                    <a:pt x="57" y="152"/>
                  </a:moveTo>
                  <a:cubicBezTo>
                    <a:pt x="57" y="192"/>
                    <a:pt x="57" y="233"/>
                    <a:pt x="57" y="274"/>
                  </a:cubicBezTo>
                  <a:cubicBezTo>
                    <a:pt x="57" y="286"/>
                    <a:pt x="52" y="295"/>
                    <a:pt x="41" y="300"/>
                  </a:cubicBezTo>
                  <a:cubicBezTo>
                    <a:pt x="31" y="306"/>
                    <a:pt x="21" y="304"/>
                    <a:pt x="12" y="298"/>
                  </a:cubicBezTo>
                  <a:cubicBezTo>
                    <a:pt x="4" y="292"/>
                    <a:pt x="0" y="283"/>
                    <a:pt x="0" y="273"/>
                  </a:cubicBezTo>
                  <a:cubicBezTo>
                    <a:pt x="0" y="192"/>
                    <a:pt x="0" y="111"/>
                    <a:pt x="0" y="30"/>
                  </a:cubicBezTo>
                  <a:cubicBezTo>
                    <a:pt x="0" y="13"/>
                    <a:pt x="13" y="0"/>
                    <a:pt x="29" y="0"/>
                  </a:cubicBezTo>
                  <a:cubicBezTo>
                    <a:pt x="45" y="0"/>
                    <a:pt x="57" y="13"/>
                    <a:pt x="57" y="30"/>
                  </a:cubicBezTo>
                  <a:cubicBezTo>
                    <a:pt x="57" y="71"/>
                    <a:pt x="57" y="111"/>
                    <a:pt x="57"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2" name="Freeform 9">
              <a:extLst>
                <a:ext uri="{FF2B5EF4-FFF2-40B4-BE49-F238E27FC236}">
                  <a16:creationId xmlns:a16="http://schemas.microsoft.com/office/drawing/2014/main" id="{7670AA87-8CAC-4122-9CBA-8C289B7AF6FC}"/>
                </a:ext>
              </a:extLst>
            </p:cNvPr>
            <p:cNvSpPr>
              <a:spLocks/>
            </p:cNvSpPr>
            <p:nvPr/>
          </p:nvSpPr>
          <p:spPr bwMode="auto">
            <a:xfrm>
              <a:off x="10804526" y="9074150"/>
              <a:ext cx="122238" cy="501650"/>
            </a:xfrm>
            <a:custGeom>
              <a:avLst/>
              <a:gdLst>
                <a:gd name="T0" fmla="*/ 0 w 57"/>
                <a:gd name="T1" fmla="*/ 117 h 232"/>
                <a:gd name="T2" fmla="*/ 0 w 57"/>
                <a:gd name="T3" fmla="*/ 32 h 232"/>
                <a:gd name="T4" fmla="*/ 29 w 57"/>
                <a:gd name="T5" fmla="*/ 0 h 232"/>
                <a:gd name="T6" fmla="*/ 57 w 57"/>
                <a:gd name="T7" fmla="*/ 32 h 232"/>
                <a:gd name="T8" fmla="*/ 57 w 57"/>
                <a:gd name="T9" fmla="*/ 199 h 232"/>
                <a:gd name="T10" fmla="*/ 29 w 57"/>
                <a:gd name="T11" fmla="*/ 231 h 232"/>
                <a:gd name="T12" fmla="*/ 0 w 57"/>
                <a:gd name="T13" fmla="*/ 200 h 232"/>
                <a:gd name="T14" fmla="*/ 0 w 57"/>
                <a:gd name="T15" fmla="*/ 117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32">
                  <a:moveTo>
                    <a:pt x="0" y="117"/>
                  </a:moveTo>
                  <a:cubicBezTo>
                    <a:pt x="0" y="88"/>
                    <a:pt x="0" y="60"/>
                    <a:pt x="0" y="32"/>
                  </a:cubicBezTo>
                  <a:cubicBezTo>
                    <a:pt x="0" y="14"/>
                    <a:pt x="12" y="0"/>
                    <a:pt x="29" y="0"/>
                  </a:cubicBezTo>
                  <a:cubicBezTo>
                    <a:pt x="45" y="0"/>
                    <a:pt x="57" y="13"/>
                    <a:pt x="57" y="32"/>
                  </a:cubicBezTo>
                  <a:cubicBezTo>
                    <a:pt x="57" y="88"/>
                    <a:pt x="57" y="144"/>
                    <a:pt x="57" y="199"/>
                  </a:cubicBezTo>
                  <a:cubicBezTo>
                    <a:pt x="57" y="218"/>
                    <a:pt x="45" y="231"/>
                    <a:pt x="29" y="231"/>
                  </a:cubicBezTo>
                  <a:cubicBezTo>
                    <a:pt x="12" y="232"/>
                    <a:pt x="0" y="218"/>
                    <a:pt x="0" y="200"/>
                  </a:cubicBezTo>
                  <a:cubicBezTo>
                    <a:pt x="0" y="172"/>
                    <a:pt x="0" y="144"/>
                    <a:pt x="0"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10">
              <a:extLst>
                <a:ext uri="{FF2B5EF4-FFF2-40B4-BE49-F238E27FC236}">
                  <a16:creationId xmlns:a16="http://schemas.microsoft.com/office/drawing/2014/main" id="{ECA5335E-7AF0-40AC-87F3-6D240FCE6AA4}"/>
                </a:ext>
              </a:extLst>
            </p:cNvPr>
            <p:cNvSpPr>
              <a:spLocks/>
            </p:cNvSpPr>
            <p:nvPr/>
          </p:nvSpPr>
          <p:spPr bwMode="auto">
            <a:xfrm>
              <a:off x="10999788" y="9169400"/>
              <a:ext cx="123825" cy="404812"/>
            </a:xfrm>
            <a:custGeom>
              <a:avLst/>
              <a:gdLst>
                <a:gd name="T0" fmla="*/ 0 w 57"/>
                <a:gd name="T1" fmla="*/ 94 h 187"/>
                <a:gd name="T2" fmla="*/ 0 w 57"/>
                <a:gd name="T3" fmla="*/ 32 h 187"/>
                <a:gd name="T4" fmla="*/ 28 w 57"/>
                <a:gd name="T5" fmla="*/ 0 h 187"/>
                <a:gd name="T6" fmla="*/ 57 w 57"/>
                <a:gd name="T7" fmla="*/ 32 h 187"/>
                <a:gd name="T8" fmla="*/ 57 w 57"/>
                <a:gd name="T9" fmla="*/ 156 h 187"/>
                <a:gd name="T10" fmla="*/ 28 w 57"/>
                <a:gd name="T11" fmla="*/ 187 h 187"/>
                <a:gd name="T12" fmla="*/ 0 w 57"/>
                <a:gd name="T13" fmla="*/ 155 h 187"/>
                <a:gd name="T14" fmla="*/ 0 w 57"/>
                <a:gd name="T15" fmla="*/ 94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87">
                  <a:moveTo>
                    <a:pt x="0" y="94"/>
                  </a:moveTo>
                  <a:cubicBezTo>
                    <a:pt x="0" y="73"/>
                    <a:pt x="0" y="53"/>
                    <a:pt x="0" y="32"/>
                  </a:cubicBezTo>
                  <a:cubicBezTo>
                    <a:pt x="0" y="14"/>
                    <a:pt x="12" y="0"/>
                    <a:pt x="28" y="0"/>
                  </a:cubicBezTo>
                  <a:cubicBezTo>
                    <a:pt x="45" y="0"/>
                    <a:pt x="57" y="14"/>
                    <a:pt x="57" y="32"/>
                  </a:cubicBezTo>
                  <a:cubicBezTo>
                    <a:pt x="57" y="74"/>
                    <a:pt x="57" y="115"/>
                    <a:pt x="57" y="156"/>
                  </a:cubicBezTo>
                  <a:cubicBezTo>
                    <a:pt x="57" y="174"/>
                    <a:pt x="45" y="187"/>
                    <a:pt x="28" y="187"/>
                  </a:cubicBezTo>
                  <a:cubicBezTo>
                    <a:pt x="12" y="187"/>
                    <a:pt x="0" y="174"/>
                    <a:pt x="0" y="155"/>
                  </a:cubicBezTo>
                  <a:cubicBezTo>
                    <a:pt x="0" y="135"/>
                    <a:pt x="0" y="114"/>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8" name="Freeform 11">
              <a:extLst>
                <a:ext uri="{FF2B5EF4-FFF2-40B4-BE49-F238E27FC236}">
                  <a16:creationId xmlns:a16="http://schemas.microsoft.com/office/drawing/2014/main" id="{E95C9D55-530E-484E-B8A2-5165E8CD9F8E}"/>
                </a:ext>
              </a:extLst>
            </p:cNvPr>
            <p:cNvSpPr>
              <a:spLocks/>
            </p:cNvSpPr>
            <p:nvPr/>
          </p:nvSpPr>
          <p:spPr bwMode="auto">
            <a:xfrm>
              <a:off x="10604501" y="9302750"/>
              <a:ext cx="128588" cy="273050"/>
            </a:xfrm>
            <a:custGeom>
              <a:avLst/>
              <a:gdLst>
                <a:gd name="T0" fmla="*/ 1 w 59"/>
                <a:gd name="T1" fmla="*/ 62 h 126"/>
                <a:gd name="T2" fmla="*/ 1 w 59"/>
                <a:gd name="T3" fmla="*/ 30 h 126"/>
                <a:gd name="T4" fmla="*/ 31 w 59"/>
                <a:gd name="T5" fmla="*/ 0 h 126"/>
                <a:gd name="T6" fmla="*/ 59 w 59"/>
                <a:gd name="T7" fmla="*/ 30 h 126"/>
                <a:gd name="T8" fmla="*/ 59 w 59"/>
                <a:gd name="T9" fmla="*/ 96 h 126"/>
                <a:gd name="T10" fmla="*/ 30 w 59"/>
                <a:gd name="T11" fmla="*/ 125 h 126"/>
                <a:gd name="T12" fmla="*/ 1 w 59"/>
                <a:gd name="T13" fmla="*/ 96 h 126"/>
                <a:gd name="T14" fmla="*/ 1 w 59"/>
                <a:gd name="T15" fmla="*/ 6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26">
                  <a:moveTo>
                    <a:pt x="1" y="62"/>
                  </a:moveTo>
                  <a:cubicBezTo>
                    <a:pt x="1" y="51"/>
                    <a:pt x="1" y="41"/>
                    <a:pt x="1" y="30"/>
                  </a:cubicBezTo>
                  <a:cubicBezTo>
                    <a:pt x="1" y="13"/>
                    <a:pt x="15" y="0"/>
                    <a:pt x="31" y="0"/>
                  </a:cubicBezTo>
                  <a:cubicBezTo>
                    <a:pt x="46" y="0"/>
                    <a:pt x="59" y="13"/>
                    <a:pt x="59" y="30"/>
                  </a:cubicBezTo>
                  <a:cubicBezTo>
                    <a:pt x="59" y="52"/>
                    <a:pt x="59" y="74"/>
                    <a:pt x="59" y="96"/>
                  </a:cubicBezTo>
                  <a:cubicBezTo>
                    <a:pt x="59" y="113"/>
                    <a:pt x="46" y="125"/>
                    <a:pt x="30" y="125"/>
                  </a:cubicBezTo>
                  <a:cubicBezTo>
                    <a:pt x="15" y="126"/>
                    <a:pt x="1" y="112"/>
                    <a:pt x="1" y="96"/>
                  </a:cubicBezTo>
                  <a:cubicBezTo>
                    <a:pt x="0" y="85"/>
                    <a:pt x="1" y="73"/>
                    <a:pt x="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0852A2D3-7834-473A-A624-EEFCF4E24419}"/>
              </a:ext>
            </a:extLst>
          </p:cNvPr>
          <p:cNvGrpSpPr/>
          <p:nvPr/>
        </p:nvGrpSpPr>
        <p:grpSpPr>
          <a:xfrm>
            <a:off x="9648952" y="3492694"/>
            <a:ext cx="301470" cy="148887"/>
            <a:chOff x="1798637" y="3316994"/>
            <a:chExt cx="307515" cy="151872"/>
          </a:xfrm>
        </p:grpSpPr>
        <p:cxnSp>
          <p:nvCxnSpPr>
            <p:cNvPr id="150" name="Straight Connector 149">
              <a:extLst>
                <a:ext uri="{FF2B5EF4-FFF2-40B4-BE49-F238E27FC236}">
                  <a16:creationId xmlns:a16="http://schemas.microsoft.com/office/drawing/2014/main" id="{13058C39-2FC3-43B8-B65B-FCA022E2E9CB}"/>
                </a:ext>
              </a:extLst>
            </p:cNvPr>
            <p:cNvCxnSpPr>
              <a:cxnSpLocks/>
            </p:cNvCxnSpPr>
            <p:nvPr/>
          </p:nvCxnSpPr>
          <p:spPr>
            <a:xfrm>
              <a:off x="1798637" y="3316994"/>
              <a:ext cx="307514" cy="0"/>
            </a:xfrm>
            <a:prstGeom prst="line">
              <a:avLst/>
            </a:prstGeom>
            <a:noFill/>
            <a:ln w="6350" cap="flat" cmpd="sng" algn="ctr">
              <a:solidFill>
                <a:schemeClr val="accent1"/>
              </a:solidFill>
              <a:prstDash val="solid"/>
              <a:headEnd type="triangle" w="med" len="med"/>
              <a:tailEnd type="none" w="med" len="med"/>
            </a:ln>
            <a:effectLst/>
          </p:spPr>
        </p:cxnSp>
        <p:cxnSp>
          <p:nvCxnSpPr>
            <p:cNvPr id="151" name="Straight Connector 150">
              <a:extLst>
                <a:ext uri="{FF2B5EF4-FFF2-40B4-BE49-F238E27FC236}">
                  <a16:creationId xmlns:a16="http://schemas.microsoft.com/office/drawing/2014/main" id="{D29C5C1D-448C-4F36-843B-DAA818C2078E}"/>
                </a:ext>
              </a:extLst>
            </p:cNvPr>
            <p:cNvCxnSpPr>
              <a:cxnSpLocks/>
            </p:cNvCxnSpPr>
            <p:nvPr/>
          </p:nvCxnSpPr>
          <p:spPr>
            <a:xfrm flipH="1">
              <a:off x="1798637" y="3468866"/>
              <a:ext cx="307515" cy="0"/>
            </a:xfrm>
            <a:prstGeom prst="line">
              <a:avLst/>
            </a:prstGeom>
            <a:noFill/>
            <a:ln w="6350" cap="flat" cmpd="sng" algn="ctr">
              <a:solidFill>
                <a:schemeClr val="accent1"/>
              </a:solidFill>
              <a:prstDash val="solid"/>
              <a:headEnd type="triangle" w="med" len="med"/>
              <a:tailEnd type="none" w="med" len="med"/>
            </a:ln>
            <a:effectLst/>
          </p:spPr>
        </p:cxnSp>
      </p:grpSp>
      <p:grpSp>
        <p:nvGrpSpPr>
          <p:cNvPr id="23" name="Group 22">
            <a:extLst>
              <a:ext uri="{FF2B5EF4-FFF2-40B4-BE49-F238E27FC236}">
                <a16:creationId xmlns:a16="http://schemas.microsoft.com/office/drawing/2014/main" id="{B426EE99-CAA1-4F0C-9689-46EF351E4EE8}"/>
              </a:ext>
            </a:extLst>
          </p:cNvPr>
          <p:cNvGrpSpPr/>
          <p:nvPr/>
        </p:nvGrpSpPr>
        <p:grpSpPr>
          <a:xfrm>
            <a:off x="5934756" y="4736406"/>
            <a:ext cx="420186" cy="378835"/>
            <a:chOff x="6201003" y="4786989"/>
            <a:chExt cx="428612" cy="386431"/>
          </a:xfrm>
          <a:solidFill>
            <a:schemeClr val="accent1"/>
          </a:solidFill>
        </p:grpSpPr>
        <p:sp>
          <p:nvSpPr>
            <p:cNvPr id="190" name="Freeform: Shape 189">
              <a:extLst>
                <a:ext uri="{FF2B5EF4-FFF2-40B4-BE49-F238E27FC236}">
                  <a16:creationId xmlns:a16="http://schemas.microsoft.com/office/drawing/2014/main" id="{1175E83A-6987-48ED-A5B8-28859A4CC343}"/>
                </a:ext>
              </a:extLst>
            </p:cNvPr>
            <p:cNvSpPr>
              <a:spLocks/>
            </p:cNvSpPr>
            <p:nvPr/>
          </p:nvSpPr>
          <p:spPr bwMode="auto">
            <a:xfrm>
              <a:off x="6319735" y="4786989"/>
              <a:ext cx="199771" cy="386431"/>
            </a:xfrm>
            <a:custGeom>
              <a:avLst/>
              <a:gdLst>
                <a:gd name="connsiteX0" fmla="*/ 59850 w 199771"/>
                <a:gd name="connsiteY0" fmla="*/ 160990 h 386431"/>
                <a:gd name="connsiteX1" fmla="*/ 59831 w 199771"/>
                <a:gd name="connsiteY1" fmla="*/ 161038 h 386431"/>
                <a:gd name="connsiteX2" fmla="*/ 62103 w 199771"/>
                <a:gd name="connsiteY2" fmla="*/ 162457 h 386431"/>
                <a:gd name="connsiteX3" fmla="*/ 77595 w 199771"/>
                <a:gd name="connsiteY3" fmla="*/ 163651 h 386431"/>
                <a:gd name="connsiteX4" fmla="*/ 137775 w 199771"/>
                <a:gd name="connsiteY4" fmla="*/ 163651 h 386431"/>
                <a:gd name="connsiteX5" fmla="*/ 140733 w 199771"/>
                <a:gd name="connsiteY5" fmla="*/ 168989 h 386431"/>
                <a:gd name="connsiteX6" fmla="*/ 140748 w 199771"/>
                <a:gd name="connsiteY6" fmla="*/ 168962 h 386431"/>
                <a:gd name="connsiteX7" fmla="*/ 137768 w 199771"/>
                <a:gd name="connsiteY7" fmla="*/ 163586 h 386431"/>
                <a:gd name="connsiteX8" fmla="*/ 77586 w 199771"/>
                <a:gd name="connsiteY8" fmla="*/ 163586 h 386431"/>
                <a:gd name="connsiteX9" fmla="*/ 62093 w 199771"/>
                <a:gd name="connsiteY9" fmla="*/ 162391 h 386431"/>
                <a:gd name="connsiteX10" fmla="*/ 71934 w 199771"/>
                <a:gd name="connsiteY10" fmla="*/ 0 h 386431"/>
                <a:gd name="connsiteX11" fmla="*/ 129700 w 199771"/>
                <a:gd name="connsiteY11" fmla="*/ 299 h 386431"/>
                <a:gd name="connsiteX12" fmla="*/ 129724 w 199771"/>
                <a:gd name="connsiteY12" fmla="*/ 220 h 386431"/>
                <a:gd name="connsiteX13" fmla="*/ 198249 w 199771"/>
                <a:gd name="connsiteY13" fmla="*/ 220 h 386431"/>
                <a:gd name="connsiteX14" fmla="*/ 112146 w 199771"/>
                <a:gd name="connsiteY14" fmla="*/ 131331 h 386431"/>
                <a:gd name="connsiteX15" fmla="*/ 199738 w 199771"/>
                <a:gd name="connsiteY15" fmla="*/ 131331 h 386431"/>
                <a:gd name="connsiteX16" fmla="*/ 197355 w 199771"/>
                <a:gd name="connsiteY16" fmla="*/ 137304 h 386431"/>
                <a:gd name="connsiteX17" fmla="*/ 28129 w 199771"/>
                <a:gd name="connsiteY17" fmla="*/ 375334 h 386431"/>
                <a:gd name="connsiteX18" fmla="*/ 26110 w 199771"/>
                <a:gd name="connsiteY18" fmla="*/ 377358 h 386431"/>
                <a:gd name="connsiteX19" fmla="*/ 26054 w 199771"/>
                <a:gd name="connsiteY19" fmla="*/ 377472 h 386431"/>
                <a:gd name="connsiteX20" fmla="*/ 22479 w 199771"/>
                <a:gd name="connsiteY20" fmla="*/ 382549 h 386431"/>
                <a:gd name="connsiteX21" fmla="*/ 18904 w 199771"/>
                <a:gd name="connsiteY21" fmla="*/ 386431 h 386431"/>
                <a:gd name="connsiteX22" fmla="*/ 33800 w 199771"/>
                <a:gd name="connsiteY22" fmla="*/ 342831 h 386431"/>
                <a:gd name="connsiteX23" fmla="*/ 81765 w 199771"/>
                <a:gd name="connsiteY23" fmla="*/ 203668 h 386431"/>
                <a:gd name="connsiteX24" fmla="*/ 76999 w 199771"/>
                <a:gd name="connsiteY24" fmla="*/ 196501 h 386431"/>
                <a:gd name="connsiteX25" fmla="*/ 4305 w 199771"/>
                <a:gd name="connsiteY25" fmla="*/ 195903 h 386431"/>
                <a:gd name="connsiteX26" fmla="*/ 730 w 199771"/>
                <a:gd name="connsiteY26" fmla="*/ 190528 h 386431"/>
                <a:gd name="connsiteX27" fmla="*/ 67167 w 199771"/>
                <a:gd name="connsiteY27" fmla="*/ 4181 h 386431"/>
                <a:gd name="connsiteX28" fmla="*/ 71934 w 199771"/>
                <a:gd name="connsiteY28" fmla="*/ 0 h 38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771" h="386431">
                  <a:moveTo>
                    <a:pt x="59850" y="160990"/>
                  </a:moveTo>
                  <a:lnTo>
                    <a:pt x="59831" y="161038"/>
                  </a:lnTo>
                  <a:cubicBezTo>
                    <a:pt x="59794" y="161859"/>
                    <a:pt x="60315" y="162457"/>
                    <a:pt x="62103" y="162457"/>
                  </a:cubicBezTo>
                  <a:cubicBezTo>
                    <a:pt x="67465" y="162158"/>
                    <a:pt x="72232" y="163950"/>
                    <a:pt x="77595" y="163651"/>
                  </a:cubicBezTo>
                  <a:cubicBezTo>
                    <a:pt x="97555" y="163352"/>
                    <a:pt x="117516" y="163651"/>
                    <a:pt x="137775" y="163651"/>
                  </a:cubicBezTo>
                  <a:lnTo>
                    <a:pt x="140733" y="168989"/>
                  </a:lnTo>
                  <a:lnTo>
                    <a:pt x="140748" y="168962"/>
                  </a:lnTo>
                  <a:cubicBezTo>
                    <a:pt x="143131" y="164780"/>
                    <a:pt x="142535" y="163586"/>
                    <a:pt x="137768" y="163586"/>
                  </a:cubicBezTo>
                  <a:cubicBezTo>
                    <a:pt x="117509" y="163586"/>
                    <a:pt x="97547" y="163287"/>
                    <a:pt x="77586" y="163586"/>
                  </a:cubicBezTo>
                  <a:cubicBezTo>
                    <a:pt x="72223" y="163884"/>
                    <a:pt x="67456" y="162092"/>
                    <a:pt x="62093" y="162391"/>
                  </a:cubicBezTo>
                  <a:close/>
                  <a:moveTo>
                    <a:pt x="71934" y="0"/>
                  </a:moveTo>
                  <a:lnTo>
                    <a:pt x="129700" y="299"/>
                  </a:lnTo>
                  <a:lnTo>
                    <a:pt x="129724" y="220"/>
                  </a:lnTo>
                  <a:cubicBezTo>
                    <a:pt x="152069" y="220"/>
                    <a:pt x="174712" y="220"/>
                    <a:pt x="198249" y="220"/>
                  </a:cubicBezTo>
                  <a:cubicBezTo>
                    <a:pt x="169647" y="44123"/>
                    <a:pt x="141343" y="87129"/>
                    <a:pt x="112146" y="131331"/>
                  </a:cubicBezTo>
                  <a:cubicBezTo>
                    <a:pt x="142237" y="131331"/>
                    <a:pt x="170839" y="131331"/>
                    <a:pt x="199738" y="131331"/>
                  </a:cubicBezTo>
                  <a:cubicBezTo>
                    <a:pt x="200036" y="134317"/>
                    <a:pt x="198249" y="135811"/>
                    <a:pt x="197355" y="137304"/>
                  </a:cubicBezTo>
                  <a:cubicBezTo>
                    <a:pt x="140748" y="216747"/>
                    <a:pt x="84438" y="295891"/>
                    <a:pt x="28129" y="375334"/>
                  </a:cubicBezTo>
                  <a:lnTo>
                    <a:pt x="26110" y="377358"/>
                  </a:lnTo>
                  <a:lnTo>
                    <a:pt x="26054" y="377472"/>
                  </a:lnTo>
                  <a:cubicBezTo>
                    <a:pt x="23074" y="377771"/>
                    <a:pt x="22777" y="380160"/>
                    <a:pt x="22479" y="382549"/>
                  </a:cubicBezTo>
                  <a:cubicBezTo>
                    <a:pt x="22181" y="384341"/>
                    <a:pt x="20989" y="385535"/>
                    <a:pt x="18904" y="386431"/>
                  </a:cubicBezTo>
                  <a:cubicBezTo>
                    <a:pt x="23968" y="371798"/>
                    <a:pt x="28735" y="357165"/>
                    <a:pt x="33800" y="342831"/>
                  </a:cubicBezTo>
                  <a:cubicBezTo>
                    <a:pt x="49888" y="296244"/>
                    <a:pt x="65678" y="249956"/>
                    <a:pt x="81765" y="203668"/>
                  </a:cubicBezTo>
                  <a:cubicBezTo>
                    <a:pt x="84149" y="196799"/>
                    <a:pt x="83851" y="196501"/>
                    <a:pt x="76999" y="196501"/>
                  </a:cubicBezTo>
                  <a:cubicBezTo>
                    <a:pt x="52867" y="196202"/>
                    <a:pt x="28735" y="195903"/>
                    <a:pt x="4305" y="195903"/>
                  </a:cubicBezTo>
                  <a:cubicBezTo>
                    <a:pt x="-163" y="195903"/>
                    <a:pt x="-759" y="194709"/>
                    <a:pt x="730" y="190528"/>
                  </a:cubicBezTo>
                  <a:cubicBezTo>
                    <a:pt x="22777" y="128412"/>
                    <a:pt x="45121" y="66297"/>
                    <a:pt x="67167" y="4181"/>
                  </a:cubicBezTo>
                  <a:cubicBezTo>
                    <a:pt x="68061" y="1792"/>
                    <a:pt x="68955" y="0"/>
                    <a:pt x="71934" y="0"/>
                  </a:cubicBezTo>
                  <a:close/>
                </a:path>
              </a:pathLst>
            </a:custGeom>
            <a:grp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22">
              <a:extLst>
                <a:ext uri="{FF2B5EF4-FFF2-40B4-BE49-F238E27FC236}">
                  <a16:creationId xmlns:a16="http://schemas.microsoft.com/office/drawing/2014/main" id="{8572B187-F2B4-4A47-AB6C-6F289295BB10}"/>
                </a:ext>
              </a:extLst>
            </p:cNvPr>
            <p:cNvSpPr>
              <a:spLocks/>
            </p:cNvSpPr>
            <p:nvPr/>
          </p:nvSpPr>
          <p:spPr bwMode="auto">
            <a:xfrm>
              <a:off x="6201003" y="4856191"/>
              <a:ext cx="137086" cy="245172"/>
            </a:xfrm>
            <a:custGeom>
              <a:avLst/>
              <a:gdLst>
                <a:gd name="T0" fmla="*/ 2 w 460"/>
                <a:gd name="T1" fmla="*/ 406 h 821"/>
                <a:gd name="T2" fmla="*/ 16 w 460"/>
                <a:gd name="T3" fmla="*/ 374 h 821"/>
                <a:gd name="T4" fmla="*/ 385 w 460"/>
                <a:gd name="T5" fmla="*/ 17 h 821"/>
                <a:gd name="T6" fmla="*/ 439 w 460"/>
                <a:gd name="T7" fmla="*/ 16 h 821"/>
                <a:gd name="T8" fmla="*/ 434 w 460"/>
                <a:gd name="T9" fmla="*/ 69 h 821"/>
                <a:gd name="T10" fmla="*/ 130 w 460"/>
                <a:gd name="T11" fmla="*/ 370 h 821"/>
                <a:gd name="T12" fmla="*/ 130 w 460"/>
                <a:gd name="T13" fmla="*/ 440 h 821"/>
                <a:gd name="T14" fmla="*/ 433 w 460"/>
                <a:gd name="T15" fmla="*/ 745 h 821"/>
                <a:gd name="T16" fmla="*/ 445 w 460"/>
                <a:gd name="T17" fmla="*/ 805 h 821"/>
                <a:gd name="T18" fmla="*/ 382 w 460"/>
                <a:gd name="T19" fmla="*/ 796 h 821"/>
                <a:gd name="T20" fmla="*/ 87 w 460"/>
                <a:gd name="T21" fmla="*/ 515 h 821"/>
                <a:gd name="T22" fmla="*/ 11 w 460"/>
                <a:gd name="T23" fmla="*/ 431 h 821"/>
                <a:gd name="T24" fmla="*/ 2 w 460"/>
                <a:gd name="T25" fmla="*/ 406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821">
                  <a:moveTo>
                    <a:pt x="2" y="406"/>
                  </a:moveTo>
                  <a:cubicBezTo>
                    <a:pt x="1" y="392"/>
                    <a:pt x="7" y="382"/>
                    <a:pt x="16" y="374"/>
                  </a:cubicBezTo>
                  <a:cubicBezTo>
                    <a:pt x="139" y="254"/>
                    <a:pt x="262" y="135"/>
                    <a:pt x="385" y="17"/>
                  </a:cubicBezTo>
                  <a:cubicBezTo>
                    <a:pt x="403" y="0"/>
                    <a:pt x="425" y="1"/>
                    <a:pt x="439" y="16"/>
                  </a:cubicBezTo>
                  <a:cubicBezTo>
                    <a:pt x="454" y="33"/>
                    <a:pt x="452" y="50"/>
                    <a:pt x="434" y="69"/>
                  </a:cubicBezTo>
                  <a:cubicBezTo>
                    <a:pt x="333" y="169"/>
                    <a:pt x="231" y="269"/>
                    <a:pt x="130" y="370"/>
                  </a:cubicBezTo>
                  <a:cubicBezTo>
                    <a:pt x="103" y="397"/>
                    <a:pt x="103" y="413"/>
                    <a:pt x="130" y="440"/>
                  </a:cubicBezTo>
                  <a:cubicBezTo>
                    <a:pt x="231" y="542"/>
                    <a:pt x="332" y="643"/>
                    <a:pt x="433" y="745"/>
                  </a:cubicBezTo>
                  <a:cubicBezTo>
                    <a:pt x="456" y="768"/>
                    <a:pt x="460" y="789"/>
                    <a:pt x="445" y="805"/>
                  </a:cubicBezTo>
                  <a:cubicBezTo>
                    <a:pt x="433" y="818"/>
                    <a:pt x="408" y="821"/>
                    <a:pt x="382" y="796"/>
                  </a:cubicBezTo>
                  <a:cubicBezTo>
                    <a:pt x="285" y="701"/>
                    <a:pt x="185" y="609"/>
                    <a:pt x="87" y="515"/>
                  </a:cubicBezTo>
                  <a:cubicBezTo>
                    <a:pt x="60" y="489"/>
                    <a:pt x="36" y="459"/>
                    <a:pt x="11" y="431"/>
                  </a:cubicBezTo>
                  <a:cubicBezTo>
                    <a:pt x="4" y="423"/>
                    <a:pt x="0" y="415"/>
                    <a:pt x="2" y="406"/>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3">
              <a:extLst>
                <a:ext uri="{FF2B5EF4-FFF2-40B4-BE49-F238E27FC236}">
                  <a16:creationId xmlns:a16="http://schemas.microsoft.com/office/drawing/2014/main" id="{C590472E-918C-4C03-8F0B-9B6D291FBB4F}"/>
                </a:ext>
              </a:extLst>
            </p:cNvPr>
            <p:cNvSpPr>
              <a:spLocks/>
            </p:cNvSpPr>
            <p:nvPr/>
          </p:nvSpPr>
          <p:spPr bwMode="auto">
            <a:xfrm>
              <a:off x="6491431" y="4857069"/>
              <a:ext cx="138184" cy="242975"/>
            </a:xfrm>
            <a:custGeom>
              <a:avLst/>
              <a:gdLst>
                <a:gd name="T0" fmla="*/ 37 w 464"/>
                <a:gd name="T1" fmla="*/ 813 h 813"/>
                <a:gd name="T2" fmla="*/ 7 w 464"/>
                <a:gd name="T3" fmla="*/ 793 h 813"/>
                <a:gd name="T4" fmla="*/ 16 w 464"/>
                <a:gd name="T5" fmla="*/ 751 h 813"/>
                <a:gd name="T6" fmla="*/ 114 w 464"/>
                <a:gd name="T7" fmla="*/ 654 h 813"/>
                <a:gd name="T8" fmla="*/ 335 w 464"/>
                <a:gd name="T9" fmla="*/ 437 h 813"/>
                <a:gd name="T10" fmla="*/ 334 w 464"/>
                <a:gd name="T11" fmla="*/ 366 h 813"/>
                <a:gd name="T12" fmla="*/ 22 w 464"/>
                <a:gd name="T13" fmla="*/ 64 h 813"/>
                <a:gd name="T14" fmla="*/ 11 w 464"/>
                <a:gd name="T15" fmla="*/ 27 h 813"/>
                <a:gd name="T16" fmla="*/ 42 w 464"/>
                <a:gd name="T17" fmla="*/ 2 h 813"/>
                <a:gd name="T18" fmla="*/ 75 w 464"/>
                <a:gd name="T19" fmla="*/ 16 h 813"/>
                <a:gd name="T20" fmla="*/ 339 w 464"/>
                <a:gd name="T21" fmla="*/ 270 h 813"/>
                <a:gd name="T22" fmla="*/ 437 w 464"/>
                <a:gd name="T23" fmla="*/ 366 h 813"/>
                <a:gd name="T24" fmla="*/ 437 w 464"/>
                <a:gd name="T25" fmla="*/ 438 h 813"/>
                <a:gd name="T26" fmla="*/ 73 w 464"/>
                <a:gd name="T27" fmla="*/ 795 h 813"/>
                <a:gd name="T28" fmla="*/ 37 w 464"/>
                <a:gd name="T29"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813">
                  <a:moveTo>
                    <a:pt x="37" y="813"/>
                  </a:moveTo>
                  <a:cubicBezTo>
                    <a:pt x="24" y="813"/>
                    <a:pt x="13" y="807"/>
                    <a:pt x="7" y="793"/>
                  </a:cubicBezTo>
                  <a:cubicBezTo>
                    <a:pt x="0" y="777"/>
                    <a:pt x="4" y="763"/>
                    <a:pt x="16" y="751"/>
                  </a:cubicBezTo>
                  <a:cubicBezTo>
                    <a:pt x="48" y="719"/>
                    <a:pt x="81" y="686"/>
                    <a:pt x="114" y="654"/>
                  </a:cubicBezTo>
                  <a:cubicBezTo>
                    <a:pt x="187" y="582"/>
                    <a:pt x="261" y="509"/>
                    <a:pt x="335" y="437"/>
                  </a:cubicBezTo>
                  <a:cubicBezTo>
                    <a:pt x="362" y="410"/>
                    <a:pt x="362" y="393"/>
                    <a:pt x="334" y="366"/>
                  </a:cubicBezTo>
                  <a:cubicBezTo>
                    <a:pt x="230" y="266"/>
                    <a:pt x="126" y="165"/>
                    <a:pt x="22" y="64"/>
                  </a:cubicBezTo>
                  <a:cubicBezTo>
                    <a:pt x="11" y="53"/>
                    <a:pt x="6" y="42"/>
                    <a:pt x="11" y="27"/>
                  </a:cubicBezTo>
                  <a:cubicBezTo>
                    <a:pt x="16" y="12"/>
                    <a:pt x="27" y="4"/>
                    <a:pt x="42" y="2"/>
                  </a:cubicBezTo>
                  <a:cubicBezTo>
                    <a:pt x="56" y="0"/>
                    <a:pt x="66" y="7"/>
                    <a:pt x="75" y="16"/>
                  </a:cubicBezTo>
                  <a:cubicBezTo>
                    <a:pt x="163" y="101"/>
                    <a:pt x="251" y="185"/>
                    <a:pt x="339" y="270"/>
                  </a:cubicBezTo>
                  <a:cubicBezTo>
                    <a:pt x="372" y="302"/>
                    <a:pt x="405" y="334"/>
                    <a:pt x="437" y="366"/>
                  </a:cubicBezTo>
                  <a:cubicBezTo>
                    <a:pt x="464" y="392"/>
                    <a:pt x="463" y="412"/>
                    <a:pt x="437" y="438"/>
                  </a:cubicBezTo>
                  <a:cubicBezTo>
                    <a:pt x="316" y="557"/>
                    <a:pt x="194" y="676"/>
                    <a:pt x="73" y="795"/>
                  </a:cubicBezTo>
                  <a:cubicBezTo>
                    <a:pt x="63" y="804"/>
                    <a:pt x="53" y="813"/>
                    <a:pt x="37" y="813"/>
                  </a:cubicBezTo>
                  <a:close/>
                </a:path>
              </a:pathLst>
            </a:custGeom>
            <a:grp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5" name="Freeform 26">
            <a:extLst>
              <a:ext uri="{FF2B5EF4-FFF2-40B4-BE49-F238E27FC236}">
                <a16:creationId xmlns:a16="http://schemas.microsoft.com/office/drawing/2014/main" id="{4FAE1255-D0B3-4C20-9B47-3FEAD705E310}"/>
              </a:ext>
            </a:extLst>
          </p:cNvPr>
          <p:cNvSpPr>
            <a:spLocks/>
          </p:cNvSpPr>
          <p:nvPr/>
        </p:nvSpPr>
        <p:spPr bwMode="auto">
          <a:xfrm>
            <a:off x="6073240" y="5106411"/>
            <a:ext cx="3446" cy="4954"/>
          </a:xfrm>
          <a:custGeom>
            <a:avLst/>
            <a:gdLst>
              <a:gd name="T0" fmla="*/ 0 w 12"/>
              <a:gd name="T1" fmla="*/ 17 h 17"/>
              <a:gd name="T2" fmla="*/ 12 w 12"/>
              <a:gd name="T3" fmla="*/ 0 h 17"/>
              <a:gd name="T4" fmla="*/ 0 w 12"/>
              <a:gd name="T5" fmla="*/ 17 h 17"/>
            </a:gdLst>
            <a:ahLst/>
            <a:cxnLst>
              <a:cxn ang="0">
                <a:pos x="T0" y="T1"/>
              </a:cxn>
              <a:cxn ang="0">
                <a:pos x="T2" y="T3"/>
              </a:cxn>
              <a:cxn ang="0">
                <a:pos x="T4" y="T5"/>
              </a:cxn>
            </a:cxnLst>
            <a:rect l="0" t="0" r="r" b="b"/>
            <a:pathLst>
              <a:path w="12" h="17">
                <a:moveTo>
                  <a:pt x="0" y="17"/>
                </a:moveTo>
                <a:cubicBezTo>
                  <a:pt x="1" y="9"/>
                  <a:pt x="2" y="1"/>
                  <a:pt x="12" y="0"/>
                </a:cubicBezTo>
                <a:cubicBezTo>
                  <a:pt x="10" y="7"/>
                  <a:pt x="6" y="12"/>
                  <a:pt x="0"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026" name="Picture 2" descr="See the source image">
            <a:extLst>
              <a:ext uri="{FF2B5EF4-FFF2-40B4-BE49-F238E27FC236}">
                <a16:creationId xmlns:a16="http://schemas.microsoft.com/office/drawing/2014/main" id="{6317C01E-AC87-4A8C-A074-67A626AF9C53}"/>
              </a:ext>
            </a:extLst>
          </p:cNvPr>
          <p:cNvPicPr>
            <a:picLocks noChangeAspect="1" noChangeArrowheads="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36361" y="3008713"/>
            <a:ext cx="454641" cy="45464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elated image">
            <a:extLst>
              <a:ext uri="{FF2B5EF4-FFF2-40B4-BE49-F238E27FC236}">
                <a16:creationId xmlns:a16="http://schemas.microsoft.com/office/drawing/2014/main" id="{1BAF249F-D155-4884-A260-E0C16848C4B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p:blipFill>
        <p:spPr bwMode="auto">
          <a:xfrm>
            <a:off x="8810718" y="4171319"/>
            <a:ext cx="508149" cy="478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51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588263" y="457200"/>
            <a:ext cx="11018520" cy="1661993"/>
          </a:xfrm>
        </p:spPr>
        <p:txBody>
          <a:bodyPr/>
          <a:lstStyle/>
          <a:p>
            <a:r>
              <a:rPr lang="en-US" sz="3600" dirty="0"/>
              <a:t>Now, we’ve built a simple interface for deploying these services and interacting with smart contracts</a:t>
            </a:r>
          </a:p>
        </p:txBody>
      </p:sp>
      <p:grpSp>
        <p:nvGrpSpPr>
          <p:cNvPr id="9" name="Group 8">
            <a:extLst>
              <a:ext uri="{FF2B5EF4-FFF2-40B4-BE49-F238E27FC236}">
                <a16:creationId xmlns:a16="http://schemas.microsoft.com/office/drawing/2014/main" id="{B4E1DC2B-06F4-4BD9-B817-1C2B64F44641}"/>
              </a:ext>
            </a:extLst>
          </p:cNvPr>
          <p:cNvGrpSpPr/>
          <p:nvPr/>
        </p:nvGrpSpPr>
        <p:grpSpPr>
          <a:xfrm>
            <a:off x="2628500" y="2075290"/>
            <a:ext cx="6935000" cy="4318851"/>
            <a:chOff x="2566810" y="2075290"/>
            <a:chExt cx="6935000" cy="4318851"/>
          </a:xfrm>
        </p:grpSpPr>
        <p:sp>
          <p:nvSpPr>
            <p:cNvPr id="7" name="Round Same Side Corner Rectangle 11">
              <a:extLst>
                <a:ext uri="{FF2B5EF4-FFF2-40B4-BE49-F238E27FC236}">
                  <a16:creationId xmlns:a16="http://schemas.microsoft.com/office/drawing/2014/main" id="{7EB314F1-ABD4-4DE3-8289-E1614A8E25B4}"/>
                </a:ext>
              </a:extLst>
            </p:cNvPr>
            <p:cNvSpPr/>
            <p:nvPr/>
          </p:nvSpPr>
          <p:spPr>
            <a:xfrm>
              <a:off x="2566810" y="2075290"/>
              <a:ext cx="6935000" cy="4318851"/>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E3008C"/>
                </a:solidFill>
                <a:effectLst/>
                <a:uLnTx/>
                <a:uFillTx/>
                <a:latin typeface="Segoe"/>
                <a:ea typeface="+mn-ea"/>
                <a:cs typeface="+mn-cs"/>
              </a:endParaRPr>
            </a:p>
          </p:txBody>
        </p:sp>
        <p:pic>
          <p:nvPicPr>
            <p:cNvPr id="5" name="Picture 4">
              <a:extLst>
                <a:ext uri="{FF2B5EF4-FFF2-40B4-BE49-F238E27FC236}">
                  <a16:creationId xmlns:a16="http://schemas.microsoft.com/office/drawing/2014/main" id="{8853DA07-89E3-4494-ADEF-B5367FCD5B2E}"/>
                </a:ext>
              </a:extLst>
            </p:cNvPr>
            <p:cNvPicPr>
              <a:picLocks noChangeAspect="1"/>
            </p:cNvPicPr>
            <p:nvPr/>
          </p:nvPicPr>
          <p:blipFill>
            <a:blip r:embed="rId3"/>
            <a:stretch>
              <a:fillRect/>
            </a:stretch>
          </p:blipFill>
          <p:spPr>
            <a:xfrm>
              <a:off x="3289877" y="2226365"/>
              <a:ext cx="5472459" cy="2949997"/>
            </a:xfrm>
            <a:prstGeom prst="rect">
              <a:avLst/>
            </a:prstGeom>
          </p:spPr>
        </p:pic>
      </p:grpSp>
    </p:spTree>
    <p:extLst>
      <p:ext uri="{BB962C8B-B14F-4D97-AF65-F5344CB8AC3E}">
        <p14:creationId xmlns:p14="http://schemas.microsoft.com/office/powerpoint/2010/main" val="37914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0D8DBDB-66BB-4864-BA3B-BAC3A9E44A7A}"/>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idx="4294967295"/>
          </p:nvPr>
        </p:nvSpPr>
        <p:spPr>
          <a:xfrm>
            <a:off x="536575" y="288925"/>
            <a:ext cx="11655425" cy="1107996"/>
          </a:xfrm>
        </p:spPr>
        <p:txBody>
          <a:bodyPr/>
          <a:lstStyle/>
          <a:p>
            <a:r>
              <a:rPr lang="en-US" sz="3600" dirty="0"/>
              <a:t>Workbench lets you focus your time on adding value for</a:t>
            </a:r>
            <a:br>
              <a:rPr lang="en-US" sz="3600" dirty="0"/>
            </a:br>
            <a:r>
              <a:rPr lang="en-US" sz="3600" dirty="0"/>
              <a:t>your business</a:t>
            </a:r>
          </a:p>
        </p:txBody>
      </p:sp>
      <p:sp>
        <p:nvSpPr>
          <p:cNvPr id="87" name="Freeform: Shape 86">
            <a:extLst>
              <a:ext uri="{FF2B5EF4-FFF2-40B4-BE49-F238E27FC236}">
                <a16:creationId xmlns:a16="http://schemas.microsoft.com/office/drawing/2014/main" id="{A28947C5-22FD-459F-B298-D10BDCE7D25E}"/>
              </a:ext>
            </a:extLst>
          </p:cNvPr>
          <p:cNvSpPr/>
          <p:nvPr/>
        </p:nvSpPr>
        <p:spPr>
          <a:xfrm rot="16200000">
            <a:off x="7756087" y="5719593"/>
            <a:ext cx="569452" cy="1706392"/>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FFA6B39-803E-4D62-879D-3BB7A87B0AA5}"/>
              </a:ext>
            </a:extLst>
          </p:cNvPr>
          <p:cNvSpPr/>
          <p:nvPr/>
        </p:nvSpPr>
        <p:spPr>
          <a:xfrm rot="16200000">
            <a:off x="5900782" y="5722078"/>
            <a:ext cx="564479" cy="1706393"/>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9AF62A60-2795-4BDA-8AA4-FABC50EE8C49}"/>
              </a:ext>
            </a:extLst>
          </p:cNvPr>
          <p:cNvSpPr/>
          <p:nvPr/>
        </p:nvSpPr>
        <p:spPr>
          <a:xfrm rot="16200000">
            <a:off x="9613878" y="5719590"/>
            <a:ext cx="569452" cy="1706396"/>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6C7B686E-791B-4019-9872-1EC607652F2C}"/>
              </a:ext>
            </a:extLst>
          </p:cNvPr>
          <p:cNvSpPr/>
          <p:nvPr/>
        </p:nvSpPr>
        <p:spPr>
          <a:xfrm rot="16200000">
            <a:off x="11364526" y="5076517"/>
            <a:ext cx="1757936" cy="918808"/>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9818A43-6A19-4E58-84B8-17917799551C}"/>
              </a:ext>
            </a:extLst>
          </p:cNvPr>
          <p:cNvSpPr/>
          <p:nvPr/>
        </p:nvSpPr>
        <p:spPr>
          <a:xfrm rot="16200000">
            <a:off x="11273498" y="5939007"/>
            <a:ext cx="552543" cy="1284468"/>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4C534521-7640-4362-ABF8-A2FDC23CBE5E}"/>
              </a:ext>
            </a:extLst>
          </p:cNvPr>
          <p:cNvSpPr/>
          <p:nvPr/>
        </p:nvSpPr>
        <p:spPr>
          <a:xfrm rot="16200000">
            <a:off x="4063539" y="5724437"/>
            <a:ext cx="559761" cy="1706393"/>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38482E94-3DCF-42C4-9785-8D8E3510566A}"/>
              </a:ext>
            </a:extLst>
          </p:cNvPr>
          <p:cNvGrpSpPr/>
          <p:nvPr/>
        </p:nvGrpSpPr>
        <p:grpSpPr>
          <a:xfrm>
            <a:off x="5384252" y="2893863"/>
            <a:ext cx="1706393" cy="1979420"/>
            <a:chOff x="5492217" y="2951394"/>
            <a:chExt cx="1740610" cy="2019111"/>
          </a:xfrm>
        </p:grpSpPr>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ually deploy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ledger</a:t>
              </a:r>
            </a:p>
          </p:txBody>
        </p:sp>
      </p:grpSp>
      <p:grpSp>
        <p:nvGrpSpPr>
          <p:cNvPr id="25" name="Group 24">
            <a:extLst>
              <a:ext uri="{FF2B5EF4-FFF2-40B4-BE49-F238E27FC236}">
                <a16:creationId xmlns:a16="http://schemas.microsoft.com/office/drawing/2014/main" id="{5EFB88BD-36CD-434F-81A6-BC23A7A71609}"/>
              </a:ext>
            </a:extLst>
          </p:cNvPr>
          <p:cNvGrpSpPr/>
          <p:nvPr/>
        </p:nvGrpSpPr>
        <p:grpSpPr>
          <a:xfrm>
            <a:off x="7223973" y="2905449"/>
            <a:ext cx="1706393" cy="1979420"/>
            <a:chOff x="7368828" y="2963212"/>
            <a:chExt cx="1740610" cy="2019111"/>
          </a:xfrm>
        </p:grpSpPr>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a:extLst>
                <a:ext uri="{FF2B5EF4-FFF2-40B4-BE49-F238E27FC236}">
                  <a16:creationId xmlns:a16="http://schemas.microsoft.com/office/drawing/2014/main" id="{03BA73B9-2BB5-45D0-8ECC-4BADFB096241}"/>
                </a:ext>
              </a:extLst>
            </p:cNvPr>
            <p:cNvSpPr txBox="1"/>
            <p:nvPr/>
          </p:nvSpPr>
          <p:spPr>
            <a:xfrm>
              <a:off x="7385182" y="3660397"/>
              <a:ext cx="1707897" cy="627847"/>
            </a:xfrm>
            <a:prstGeom prst="rect">
              <a:avLst/>
            </a:prstGeom>
            <a:noFill/>
            <a:ln>
              <a:noFill/>
            </a:ln>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Write business logic</a:t>
              </a:r>
            </a:p>
          </p:txBody>
        </p:sp>
      </p:grpSp>
      <p:grpSp>
        <p:nvGrpSpPr>
          <p:cNvPr id="7" name="Group 6">
            <a:extLst>
              <a:ext uri="{FF2B5EF4-FFF2-40B4-BE49-F238E27FC236}">
                <a16:creationId xmlns:a16="http://schemas.microsoft.com/office/drawing/2014/main" id="{AF8CF548-9CE0-4BDC-AA2C-45554E7DD8D9}"/>
              </a:ext>
            </a:extLst>
          </p:cNvPr>
          <p:cNvGrpSpPr/>
          <p:nvPr/>
        </p:nvGrpSpPr>
        <p:grpSpPr>
          <a:xfrm>
            <a:off x="2574074" y="4579324"/>
            <a:ext cx="1758669" cy="1979420"/>
            <a:chOff x="2625689" y="4670652"/>
            <a:chExt cx="1793934" cy="2019111"/>
          </a:xfrm>
        </p:grpSpPr>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6AA218FD-0DF1-4C29-B88B-361D00FE70FD}"/>
                </a:ext>
              </a:extLst>
            </p:cNvPr>
            <p:cNvSpPr txBox="1"/>
            <p:nvPr/>
          </p:nvSpPr>
          <p:spPr>
            <a:xfrm>
              <a:off x="2625689" y="5234172"/>
              <a:ext cx="179393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Orchestrate signing, hashing and routing</a:t>
              </a:r>
            </a:p>
          </p:txBody>
        </p:sp>
      </p:grpSp>
      <p:grpSp>
        <p:nvGrpSpPr>
          <p:cNvPr id="14" name="Group 13">
            <a:extLst>
              <a:ext uri="{FF2B5EF4-FFF2-40B4-BE49-F238E27FC236}">
                <a16:creationId xmlns:a16="http://schemas.microsoft.com/office/drawing/2014/main" id="{B74BDD67-E5DC-4A09-A700-1FB00D6978DB}"/>
              </a:ext>
            </a:extLst>
          </p:cNvPr>
          <p:cNvGrpSpPr/>
          <p:nvPr/>
        </p:nvGrpSpPr>
        <p:grpSpPr>
          <a:xfrm>
            <a:off x="9976471" y="4634866"/>
            <a:ext cx="1706393" cy="1979420"/>
            <a:chOff x="10176519" y="4727308"/>
            <a:chExt cx="1740610" cy="2019111"/>
          </a:xfrm>
        </p:grpSpPr>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Store smart contract reference data</a:t>
              </a:r>
            </a:p>
          </p:txBody>
        </p:sp>
      </p:grpSp>
      <p:grpSp>
        <p:nvGrpSpPr>
          <p:cNvPr id="28" name="Group 27">
            <a:extLst>
              <a:ext uri="{FF2B5EF4-FFF2-40B4-BE49-F238E27FC236}">
                <a16:creationId xmlns:a16="http://schemas.microsoft.com/office/drawing/2014/main" id="{7188A1C0-C3FA-4A95-8DED-51BF17EB4DBD}"/>
              </a:ext>
            </a:extLst>
          </p:cNvPr>
          <p:cNvGrpSpPr/>
          <p:nvPr/>
        </p:nvGrpSpPr>
        <p:grpSpPr>
          <a:xfrm>
            <a:off x="9060153" y="2947570"/>
            <a:ext cx="1706393" cy="1979420"/>
            <a:chOff x="9241827" y="3006178"/>
            <a:chExt cx="1740610" cy="2019111"/>
          </a:xfrm>
        </p:grpSpPr>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Synchronize data with off-chain DB</a:t>
              </a:r>
            </a:p>
          </p:txBody>
        </p:sp>
      </p:grpSp>
      <p:grpSp>
        <p:nvGrpSpPr>
          <p:cNvPr id="8" name="Group 7">
            <a:extLst>
              <a:ext uri="{FF2B5EF4-FFF2-40B4-BE49-F238E27FC236}">
                <a16:creationId xmlns:a16="http://schemas.microsoft.com/office/drawing/2014/main" id="{4423BAF1-2F56-47B9-8C0B-5B512D41D8D3}"/>
              </a:ext>
            </a:extLst>
          </p:cNvPr>
          <p:cNvGrpSpPr/>
          <p:nvPr/>
        </p:nvGrpSpPr>
        <p:grpSpPr>
          <a:xfrm>
            <a:off x="3555522" y="2900837"/>
            <a:ext cx="1706393" cy="1979420"/>
            <a:chOff x="3626817" y="2958508"/>
            <a:chExt cx="1740610" cy="2019111"/>
          </a:xfrm>
        </p:grpSpPr>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TextBox 60">
              <a:extLst>
                <a:ext uri="{FF2B5EF4-FFF2-40B4-BE49-F238E27FC236}">
                  <a16:creationId xmlns:a16="http://schemas.microsoft.com/office/drawing/2014/main" id="{57699EAD-2745-4EF8-A576-22ACD15662D6}"/>
                </a:ext>
              </a:extLst>
            </p:cNvPr>
            <p:cNvSpPr txBox="1"/>
            <p:nvPr/>
          </p:nvSpPr>
          <p:spPr>
            <a:xfrm>
              <a:off x="3730779" y="3532759"/>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Ingest messages and events</a:t>
              </a:r>
            </a:p>
          </p:txBody>
        </p:sp>
      </p:grpSp>
      <p:grpSp>
        <p:nvGrpSpPr>
          <p:cNvPr id="13" name="Group 12">
            <a:extLst>
              <a:ext uri="{FF2B5EF4-FFF2-40B4-BE49-F238E27FC236}">
                <a16:creationId xmlns:a16="http://schemas.microsoft.com/office/drawing/2014/main" id="{D9DAAB61-3ACB-4B12-8265-BB90AD4F4182}"/>
              </a:ext>
            </a:extLst>
          </p:cNvPr>
          <p:cNvGrpSpPr/>
          <p:nvPr/>
        </p:nvGrpSpPr>
        <p:grpSpPr>
          <a:xfrm>
            <a:off x="8114347" y="4610232"/>
            <a:ext cx="1706393" cy="1979420"/>
            <a:chOff x="8277056" y="4702180"/>
            <a:chExt cx="1740610" cy="2019111"/>
          </a:xfrm>
        </p:grpSpPr>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TextBox 63">
              <a:extLst>
                <a:ext uri="{FF2B5EF4-FFF2-40B4-BE49-F238E27FC236}">
                  <a16:creationId xmlns:a16="http://schemas.microsoft.com/office/drawing/2014/main" id="{5B88C68D-63B5-4A17-ADAD-19E80CEA11B6}"/>
                </a:ext>
              </a:extLst>
            </p:cNvPr>
            <p:cNvSpPr txBox="1"/>
            <p:nvPr/>
          </p:nvSpPr>
          <p:spPr>
            <a:xfrm>
              <a:off x="8381018" y="5384064"/>
              <a:ext cx="1532684" cy="62796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Build web client</a:t>
              </a:r>
            </a:p>
          </p:txBody>
        </p:sp>
      </p:grpSp>
      <p:grpSp>
        <p:nvGrpSpPr>
          <p:cNvPr id="3" name="Group 2">
            <a:extLst>
              <a:ext uri="{FF2B5EF4-FFF2-40B4-BE49-F238E27FC236}">
                <a16:creationId xmlns:a16="http://schemas.microsoft.com/office/drawing/2014/main" id="{A111D3A1-1A28-4260-A58D-8693F680DA99}"/>
              </a:ext>
            </a:extLst>
          </p:cNvPr>
          <p:cNvGrpSpPr/>
          <p:nvPr/>
        </p:nvGrpSpPr>
        <p:grpSpPr>
          <a:xfrm>
            <a:off x="745345" y="4585585"/>
            <a:ext cx="1706393" cy="1979420"/>
            <a:chOff x="760290" y="4677039"/>
            <a:chExt cx="1740610" cy="2019111"/>
          </a:xfrm>
        </p:grpSpPr>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18308B97-763C-45A6-B77E-3641F7AE5101}"/>
                </a:ext>
              </a:extLst>
            </p:cNvPr>
            <p:cNvSpPr txBox="1"/>
            <p:nvPr/>
          </p:nvSpPr>
          <p:spPr>
            <a:xfrm>
              <a:off x="886125" y="5384064"/>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agement</a:t>
              </a:r>
            </a:p>
          </p:txBody>
        </p:sp>
      </p:grpSp>
      <p:sp>
        <p:nvSpPr>
          <p:cNvPr id="84" name="Freeform: Shape 83">
            <a:extLst>
              <a:ext uri="{FF2B5EF4-FFF2-40B4-BE49-F238E27FC236}">
                <a16:creationId xmlns:a16="http://schemas.microsoft.com/office/drawing/2014/main" id="{153ACDB3-A635-4DA3-8D67-2BD76231B060}"/>
              </a:ext>
            </a:extLst>
          </p:cNvPr>
          <p:cNvSpPr/>
          <p:nvPr/>
        </p:nvSpPr>
        <p:spPr>
          <a:xfrm rot="16200000">
            <a:off x="2242633" y="5728606"/>
            <a:ext cx="551422" cy="1706393"/>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991BEB3-F72E-4414-A57F-7B0E6D56B828}"/>
              </a:ext>
            </a:extLst>
          </p:cNvPr>
          <p:cNvGrpSpPr/>
          <p:nvPr/>
        </p:nvGrpSpPr>
        <p:grpSpPr>
          <a:xfrm>
            <a:off x="6260887" y="4579323"/>
            <a:ext cx="1706393" cy="1979420"/>
            <a:chOff x="6386430" y="4670651"/>
            <a:chExt cx="1740610" cy="2019111"/>
          </a:xfrm>
        </p:grpSpPr>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Manage keys</a:t>
              </a:r>
            </a:p>
          </p:txBody>
        </p:sp>
      </p:grpSp>
      <p:grpSp>
        <p:nvGrpSpPr>
          <p:cNvPr id="11" name="Group 10">
            <a:extLst>
              <a:ext uri="{FF2B5EF4-FFF2-40B4-BE49-F238E27FC236}">
                <a16:creationId xmlns:a16="http://schemas.microsoft.com/office/drawing/2014/main" id="{9834BDA1-8BCE-4303-933A-25C26D6DD590}"/>
              </a:ext>
            </a:extLst>
          </p:cNvPr>
          <p:cNvGrpSpPr/>
          <p:nvPr/>
        </p:nvGrpSpPr>
        <p:grpSpPr>
          <a:xfrm>
            <a:off x="4432157" y="4585311"/>
            <a:ext cx="1706393" cy="1979420"/>
            <a:chOff x="4521030" y="4676759"/>
            <a:chExt cx="1740610" cy="2019111"/>
          </a:xfrm>
        </p:grpSpPr>
        <p:sp>
          <p:nvSpPr>
            <p:cNvPr id="21" name="Hexagon 20">
              <a:extLst>
                <a:ext uri="{FF2B5EF4-FFF2-40B4-BE49-F238E27FC236}">
                  <a16:creationId xmlns:a16="http://schemas.microsoft.com/office/drawing/2014/main" id="{09C9F131-CCBC-41E8-B3AC-CFF8F5E30325}"/>
                </a:ext>
              </a:extLst>
            </p:cNvPr>
            <p:cNvSpPr/>
            <p:nvPr/>
          </p:nvSpPr>
          <p:spPr>
            <a:xfrm rot="16200000">
              <a:off x="4381779" y="4816010"/>
              <a:ext cx="2019111" cy="1740610"/>
            </a:xfrm>
            <a:prstGeom prst="hexagon">
              <a:avLst/>
            </a:prstGeom>
            <a:solidFill>
              <a:schemeClr val="accent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TextBox 57">
              <a:extLst>
                <a:ext uri="{FF2B5EF4-FFF2-40B4-BE49-F238E27FC236}">
                  <a16:creationId xmlns:a16="http://schemas.microsoft.com/office/drawing/2014/main" id="{7FC6A485-F158-4A93-BCCF-FB4ACA8D6167}"/>
                </a:ext>
              </a:extLst>
            </p:cNvPr>
            <p:cNvSpPr txBox="1"/>
            <p:nvPr/>
          </p:nvSpPr>
          <p:spPr>
            <a:xfrm>
              <a:off x="4637689" y="5328435"/>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Customize integrations</a:t>
              </a:r>
            </a:p>
          </p:txBody>
        </p:sp>
      </p:grpSp>
      <p:sp>
        <p:nvSpPr>
          <p:cNvPr id="91" name="Freeform: Shape 90">
            <a:extLst>
              <a:ext uri="{FF2B5EF4-FFF2-40B4-BE49-F238E27FC236}">
                <a16:creationId xmlns:a16="http://schemas.microsoft.com/office/drawing/2014/main" id="{D2D6DBF8-72E9-4192-AFCD-98C7EC15F287}"/>
              </a:ext>
            </a:extLst>
          </p:cNvPr>
          <p:cNvSpPr/>
          <p:nvPr/>
        </p:nvSpPr>
        <p:spPr>
          <a:xfrm rot="16200000">
            <a:off x="441523" y="5856230"/>
            <a:ext cx="559762" cy="1442807"/>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22928FE-4494-479C-AA64-97B018D142D1}"/>
              </a:ext>
            </a:extLst>
          </p:cNvPr>
          <p:cNvSpPr/>
          <p:nvPr/>
        </p:nvSpPr>
        <p:spPr>
          <a:xfrm rot="16200000">
            <a:off x="11220981" y="2055375"/>
            <a:ext cx="1536451" cy="410228"/>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64F7E820-83BB-4DF9-886D-C2B8144EEBD8}"/>
              </a:ext>
            </a:extLst>
          </p:cNvPr>
          <p:cNvGrpSpPr/>
          <p:nvPr/>
        </p:nvGrpSpPr>
        <p:grpSpPr>
          <a:xfrm>
            <a:off x="10863821" y="2918796"/>
            <a:ext cx="1502555" cy="1979420"/>
            <a:chOff x="11081663" y="2976827"/>
            <a:chExt cx="1532684" cy="2019111"/>
          </a:xfrm>
        </p:grpSpPr>
        <p:sp>
          <p:nvSpPr>
            <p:cNvPr id="50" name="Freeform: Shape 49">
              <a:extLst>
                <a:ext uri="{FF2B5EF4-FFF2-40B4-BE49-F238E27FC236}">
                  <a16:creationId xmlns:a16="http://schemas.microsoft.com/office/drawing/2014/main" id="{3EAABD22-A07C-481D-9A1F-479CC9E8AEB8}"/>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TextBox 39">
              <a:extLst>
                <a:ext uri="{FF2B5EF4-FFF2-40B4-BE49-F238E27FC236}">
                  <a16:creationId xmlns:a16="http://schemas.microsoft.com/office/drawing/2014/main" id="{84FEA38C-8623-4F26-B7CA-C72F7FBC3C66}"/>
                </a:ext>
              </a:extLst>
            </p:cNvPr>
            <p:cNvSpPr txBox="1"/>
            <p:nvPr/>
          </p:nvSpPr>
          <p:spPr>
            <a:xfrm>
              <a:off x="11081663" y="3644678"/>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Extend capabilities</a:t>
              </a:r>
            </a:p>
          </p:txBody>
        </p:sp>
      </p:grpSp>
      <p:grpSp>
        <p:nvGrpSpPr>
          <p:cNvPr id="24" name="Group 23">
            <a:extLst>
              <a:ext uri="{FF2B5EF4-FFF2-40B4-BE49-F238E27FC236}">
                <a16:creationId xmlns:a16="http://schemas.microsoft.com/office/drawing/2014/main" id="{AEA74463-7973-4FF4-BF28-68D68E49D095}"/>
              </a:ext>
            </a:extLst>
          </p:cNvPr>
          <p:cNvGrpSpPr/>
          <p:nvPr/>
        </p:nvGrpSpPr>
        <p:grpSpPr>
          <a:xfrm>
            <a:off x="8153743" y="1232114"/>
            <a:ext cx="1706393" cy="1979420"/>
            <a:chOff x="8317242" y="1256324"/>
            <a:chExt cx="1740610" cy="2019111"/>
          </a:xfrm>
        </p:grpSpPr>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Integrate with existing business apps</a:t>
              </a:r>
            </a:p>
          </p:txBody>
        </p:sp>
      </p:grpSp>
      <p:grpSp>
        <p:nvGrpSpPr>
          <p:cNvPr id="22" name="Group 21">
            <a:extLst>
              <a:ext uri="{FF2B5EF4-FFF2-40B4-BE49-F238E27FC236}">
                <a16:creationId xmlns:a16="http://schemas.microsoft.com/office/drawing/2014/main" id="{3115AA85-051F-4753-9842-77E30BF1AD72}"/>
              </a:ext>
            </a:extLst>
          </p:cNvPr>
          <p:cNvGrpSpPr/>
          <p:nvPr/>
        </p:nvGrpSpPr>
        <p:grpSpPr>
          <a:xfrm>
            <a:off x="9961727" y="1277325"/>
            <a:ext cx="1706393" cy="1979420"/>
            <a:chOff x="10161480" y="1302441"/>
            <a:chExt cx="1740610" cy="2019111"/>
          </a:xfrm>
        </p:grpSpPr>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Configure consortium network </a:t>
              </a:r>
            </a:p>
          </p:txBody>
        </p:sp>
      </p:grpSp>
      <p:grpSp>
        <p:nvGrpSpPr>
          <p:cNvPr id="26" name="Group 25">
            <a:extLst>
              <a:ext uri="{FF2B5EF4-FFF2-40B4-BE49-F238E27FC236}">
                <a16:creationId xmlns:a16="http://schemas.microsoft.com/office/drawing/2014/main" id="{B5453DE2-86FA-43AB-9790-773C0C06D519}"/>
              </a:ext>
            </a:extLst>
          </p:cNvPr>
          <p:cNvGrpSpPr/>
          <p:nvPr/>
        </p:nvGrpSpPr>
        <p:grpSpPr>
          <a:xfrm>
            <a:off x="6297989" y="1202556"/>
            <a:ext cx="1706393" cy="1979420"/>
            <a:chOff x="6424276" y="1226173"/>
            <a:chExt cx="1740610" cy="2019111"/>
          </a:xfrm>
        </p:grpSpPr>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DCF8318B-FB9B-49D4-BA2B-D855A29B43D5}"/>
                </a:ext>
              </a:extLst>
            </p:cNvPr>
            <p:cNvSpPr txBox="1"/>
            <p:nvPr/>
          </p:nvSpPr>
          <p:spPr>
            <a:xfrm>
              <a:off x="6528238" y="1783306"/>
              <a:ext cx="1532684" cy="118208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Calibri Light"/>
                </a:rPr>
                <a:t>Link to federated identity systems</a:t>
              </a:r>
            </a:p>
          </p:txBody>
        </p:sp>
      </p:grpSp>
    </p:spTree>
    <p:extLst>
      <p:ext uri="{BB962C8B-B14F-4D97-AF65-F5344CB8AC3E}">
        <p14:creationId xmlns:p14="http://schemas.microsoft.com/office/powerpoint/2010/main" val="169453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Custom 4">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9BD2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potx" id="{5934182C-5E91-4AA0-AC54-8FABA87FDE33}" vid="{A438645E-38DE-470C-AF49-BEF4F95CC5B2}"/>
    </a:ext>
  </a:extLst>
</a:theme>
</file>

<file path=ppt/theme/theme3.xml><?xml version="1.0" encoding="utf-8"?>
<a:theme xmlns:a="http://schemas.openxmlformats.org/drawingml/2006/main" name="5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E4CC7CFD672E4594F342DF17B16BB1" ma:contentTypeVersion="11" ma:contentTypeDescription="Create a new document." ma:contentTypeScope="" ma:versionID="5cf9ebc3cb12783a730ff2c294a7ed6c">
  <xsd:schema xmlns:xsd="http://www.w3.org/2001/XMLSchema" xmlns:xs="http://www.w3.org/2001/XMLSchema" xmlns:p="http://schemas.microsoft.com/office/2006/metadata/properties" xmlns:ns1="http://schemas.microsoft.com/sharepoint/v3" xmlns:ns2="8790cc91-cd7a-4533-afc7-c2848ef63f43" xmlns:ns3="2afd8951-537f-457c-87ef-e52b379b21fc" targetNamespace="http://schemas.microsoft.com/office/2006/metadata/properties" ma:root="true" ma:fieldsID="4fb614636116752c63b7cc25c62e43c2" ns1:_="" ns2:_="" ns3:_="">
    <xsd:import namespace="http://schemas.microsoft.com/sharepoint/v3"/>
    <xsd:import namespace="8790cc91-cd7a-4533-afc7-c2848ef63f43"/>
    <xsd:import namespace="2afd8951-537f-457c-87ef-e52b379b21fc"/>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AutoTag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90cc91-cd7a-4533-afc7-c2848ef63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afd8951-537f-457c-87ef-e52b379b21fc"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2afd8951-537f-457c-87ef-e52b379b21fc"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E60B98-7170-45FB-A99C-34A0E99ED6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90cc91-cd7a-4533-afc7-c2848ef63f43"/>
    <ds:schemaRef ds:uri="2afd8951-537f-457c-87ef-e52b379b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616F65-8BF7-43AE-B556-F00EB0BFC78E}">
  <ds:schemaRefs>
    <ds:schemaRef ds:uri="http://schemas.microsoft.com/office/2006/metadata/properties"/>
    <ds:schemaRef ds:uri="http://schemas.microsoft.com/office/infopath/2007/PartnerControls"/>
    <ds:schemaRef ds:uri="http://schemas.microsoft.com/sharepoint/v3"/>
    <ds:schemaRef ds:uri="2afd8951-537f-457c-87ef-e52b379b21fc"/>
  </ds:schemaRefs>
</ds:datastoreItem>
</file>

<file path=customXml/itemProps3.xml><?xml version="1.0" encoding="utf-8"?>
<ds:datastoreItem xmlns:ds="http://schemas.openxmlformats.org/officeDocument/2006/customXml" ds:itemID="{286A8D2E-EBB0-463A-B6B9-330F48D736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409</Words>
  <Application>Microsoft Office PowerPoint</Application>
  <PresentationFormat>Widescreen</PresentationFormat>
  <Paragraphs>397</Paragraphs>
  <Slides>32</Slides>
  <Notes>31</Notes>
  <HiddenSlides>0</HiddenSlides>
  <MMClips>0</MMClips>
  <ScaleCrop>false</ScaleCrop>
  <HeadingPairs>
    <vt:vector size="4" baseType="variant">
      <vt:variant>
        <vt:lpstr>Theme</vt:lpstr>
      </vt:variant>
      <vt:variant>
        <vt:i4>5</vt:i4>
      </vt:variant>
      <vt:variant>
        <vt:lpstr>Slide Titles</vt:lpstr>
      </vt:variant>
      <vt:variant>
        <vt:i4>32</vt:i4>
      </vt:variant>
    </vt:vector>
  </HeadingPairs>
  <TitlesOfParts>
    <vt:vector size="37" baseType="lpstr">
      <vt:lpstr>Office Theme</vt:lpstr>
      <vt:lpstr>3_WHITE TEMPLATE</vt:lpstr>
      <vt:lpstr>5_5-50109_Microsoft_Light_Template</vt:lpstr>
      <vt:lpstr>5-50109_Microsoft_Light_Template</vt:lpstr>
      <vt:lpstr>Blockchain Kick off Deck</vt:lpstr>
      <vt:lpstr>Blockchain App in a Day Workshop  Presenters Companies</vt:lpstr>
      <vt:lpstr>PowerPoint Presentation</vt:lpstr>
      <vt:lpstr>Building an end-to-end blockchain app is a huge undertaking</vt:lpstr>
      <vt:lpstr>So we’ve taken steps to create a platform that would tackle those challenges</vt:lpstr>
      <vt:lpstr>We’ve seen this pattern in scenarios across industries</vt:lpstr>
      <vt:lpstr>With Azure Blockchain Workbench you can skip the scaffolding</vt:lpstr>
      <vt:lpstr>With an enterprise-ready, customizable approach</vt:lpstr>
      <vt:lpstr>Now, we’ve built a simple interface for deploying these services and interacting with smart contracts</vt:lpstr>
      <vt:lpstr>Workbench lets you focus your time on adding value for your business</vt:lpstr>
      <vt:lpstr>PowerPoint Presentation</vt:lpstr>
      <vt:lpstr>PowerPoint Presentation</vt:lpstr>
      <vt:lpstr>Azure Blockchain Workbench Architecture</vt:lpstr>
      <vt:lpstr>Deploy sample solution </vt:lpstr>
      <vt:lpstr>Code and Solution Configuration Walkthrough  </vt:lpstr>
      <vt:lpstr>PowerPoint Presentation</vt:lpstr>
      <vt:lpstr>Blockchain App in a Day - Process Flow</vt:lpstr>
      <vt:lpstr>Create your application story </vt:lpstr>
      <vt:lpstr>Define your application roles</vt:lpstr>
      <vt:lpstr>Enumerate all of your smart contract states</vt:lpstr>
      <vt:lpstr>Draft the workflow details as a state transition design</vt:lpstr>
      <vt:lpstr>Specify data as parameters relative to roles and functions </vt:lpstr>
      <vt:lpstr>Prepare to write your workflow details as a Solidity Smart Contract</vt:lpstr>
      <vt:lpstr>Prepare your Workbench JSON application configuration file</vt:lpstr>
      <vt:lpstr>PowerPoint Presentation</vt:lpstr>
      <vt:lpstr>Basic Provenance - MVP</vt:lpstr>
      <vt:lpstr>MVP application roles</vt:lpstr>
      <vt:lpstr>Enumerate all of your smart contract states</vt:lpstr>
      <vt:lpstr>MVP functions and parameters</vt:lpstr>
      <vt:lpstr>Prepare to write your workflow details as a Solidity Smart Contract</vt:lpstr>
      <vt:lpstr>Prepare your Workbench JSON application configuration fil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 Blockchin App in  Day</dc:title>
  <dc:creator/>
  <cp:lastModifiedBy/>
  <cp:revision>324</cp:revision>
  <dcterms:modified xsi:type="dcterms:W3CDTF">2019-11-15T21:1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9728">
    <vt:lpwstr>57</vt:lpwstr>
  </property>
  <property fmtid="{D5CDD505-2E9C-101B-9397-08002B2CF9AE}" pid="3" name="ContentTypeId">
    <vt:lpwstr>0x010100DEE4CC7CFD672E4594F342DF17B16BB1</vt:lpwstr>
  </property>
</Properties>
</file>